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notesSlides/notesSlide7.xml" ContentType="application/vnd.openxmlformats-officedocument.presentationml.notesSlide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ags/tag219.xml" ContentType="application/vnd.openxmlformats-officedocument.presentationml.tags+xml"/>
  <Override PartName="/ppt/tags/tag248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notesSlides/notesSlide6.xml" ContentType="application/vnd.openxmlformats-officedocument.presentationml.notesSlide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notesSlides/notesSlide8.xml" ContentType="application/vnd.openxmlformats-officedocument.presentationml.notesSlide+xml"/>
  <Default Extension="gif" ContentType="image/gif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7" r:id="rId2"/>
    <p:sldId id="298" r:id="rId3"/>
    <p:sldId id="309" r:id="rId4"/>
    <p:sldId id="303" r:id="rId5"/>
    <p:sldId id="310" r:id="rId6"/>
    <p:sldId id="306" r:id="rId7"/>
    <p:sldId id="328" r:id="rId8"/>
    <p:sldId id="325" r:id="rId9"/>
    <p:sldId id="327" r:id="rId10"/>
    <p:sldId id="323" r:id="rId11"/>
    <p:sldId id="326" r:id="rId12"/>
    <p:sldId id="311" r:id="rId13"/>
    <p:sldId id="317" r:id="rId14"/>
    <p:sldId id="315" r:id="rId15"/>
    <p:sldId id="316" r:id="rId16"/>
  </p:sldIdLst>
  <p:sldSz cx="9144000" cy="6858000" type="screen4x3"/>
  <p:notesSz cx="6858000" cy="9144000"/>
  <p:custDataLst>
    <p:tags r:id="rId18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Елена Казбанова" initials="ЕК" lastIdx="29" clrIdx="0"/>
  <p:cmAuthor id="1" name="Philipp" initials="P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C62E"/>
    <a:srgbClr val="E9EDF4"/>
    <a:srgbClr val="00519A"/>
    <a:srgbClr val="E75325"/>
    <a:srgbClr val="88AE28"/>
    <a:srgbClr val="640000"/>
    <a:srgbClr val="FFB7B7"/>
    <a:srgbClr val="320000"/>
    <a:srgbClr val="FF2525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23" autoAdjust="0"/>
    <p:restoredTop sz="98130" autoAdjust="0"/>
  </p:normalViewPr>
  <p:slideViewPr>
    <p:cSldViewPr showGuides="1">
      <p:cViewPr varScale="1">
        <p:scale>
          <a:sx n="72" d="100"/>
          <a:sy n="72" d="100"/>
        </p:scale>
        <p:origin x="-360" y="-90"/>
      </p:cViewPr>
      <p:guideLst>
        <p:guide orient="horz" pos="2160"/>
        <p:guide orient="horz" pos="238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658F6F-58C3-47D0-AD83-63609EFC1E2E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184A53-73D3-42B1-8DE0-82E0A661AF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26398-C800-4E80-83B8-001EDBEAF209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BDCFC-1B43-4671-8153-5A577BDBCB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10D26-CD32-44E7-8454-F22967C073A3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09CB8-7BF2-430C-A143-660BAF5242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AC7B0-6F1F-4307-B92B-8017E1DA6C11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F0368-36F2-482D-9F91-61D83B3E2C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CABFF-8B85-47B0-93C9-7DEC087E01ED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0305A-D11B-4E57-9C7E-078536ECBA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E56BD-5721-4FBD-AAF5-6222E059C5DE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9A8D4-29F2-4A58-9B07-6B495A526E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0FE76-93D2-4635-BF74-FFBE05873C35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524B-3DB6-46E7-B5F7-BBF1EFB454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880BC-048A-43BD-B3BA-F09876D5F9BB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0D91B-007E-4CB5-8760-471BDF0A96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BA20F-6BDE-45A7-9443-9F98EFE876CC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2A70-2E3B-47E6-B033-8ECDFA28C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BC3F-B5D6-46E7-8080-6264D5D204E4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12DB0-D9BD-431C-9F05-F7277FE053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F6F12-35FB-4E3A-8511-0E44FF0CF7F2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6B63-89D3-4DC8-9BE0-8E2C2BCBDC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5C9AC-873C-40C9-A0C6-EB30620800CE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5C3FA-77C7-4C54-A2CE-880E6F786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6249B-2262-4813-B78C-0063B020C8B4}" type="datetimeFigureOut">
              <a:rPr lang="ru-RU"/>
              <a:pPr>
                <a:defRPr/>
              </a:pPr>
              <a:t>2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71B26-612C-453E-9FAE-9DBD01FA09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tags" Target="../tags/tag163.xml"/><Relationship Id="rId18" Type="http://schemas.openxmlformats.org/officeDocument/2006/relationships/tags" Target="../tags/tag168.xml"/><Relationship Id="rId26" Type="http://schemas.openxmlformats.org/officeDocument/2006/relationships/tags" Target="../tags/tag176.xml"/><Relationship Id="rId39" Type="http://schemas.openxmlformats.org/officeDocument/2006/relationships/image" Target="../media/image4.jpeg"/><Relationship Id="rId3" Type="http://schemas.openxmlformats.org/officeDocument/2006/relationships/tags" Target="../tags/tag153.xml"/><Relationship Id="rId21" Type="http://schemas.openxmlformats.org/officeDocument/2006/relationships/tags" Target="../tags/tag171.xml"/><Relationship Id="rId34" Type="http://schemas.openxmlformats.org/officeDocument/2006/relationships/notesSlide" Target="../notesSlides/notesSlide8.xml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17" Type="http://schemas.openxmlformats.org/officeDocument/2006/relationships/tags" Target="../tags/tag167.xml"/><Relationship Id="rId25" Type="http://schemas.openxmlformats.org/officeDocument/2006/relationships/tags" Target="../tags/tag175.xml"/><Relationship Id="rId33" Type="http://schemas.openxmlformats.org/officeDocument/2006/relationships/slideLayout" Target="../slideLayouts/slideLayout2.xml"/><Relationship Id="rId38" Type="http://schemas.openxmlformats.org/officeDocument/2006/relationships/hyperlink" Target="http://mediasubs.ru/group/uploads/li/lichnostnyij-rost-i-finansyi/image2/ItMDliMWJ.jpg" TargetMode="External"/><Relationship Id="rId2" Type="http://schemas.openxmlformats.org/officeDocument/2006/relationships/tags" Target="../tags/tag152.xml"/><Relationship Id="rId16" Type="http://schemas.openxmlformats.org/officeDocument/2006/relationships/tags" Target="../tags/tag166.xml"/><Relationship Id="rId20" Type="http://schemas.openxmlformats.org/officeDocument/2006/relationships/tags" Target="../tags/tag170.xml"/><Relationship Id="rId29" Type="http://schemas.openxmlformats.org/officeDocument/2006/relationships/tags" Target="../tags/tag179.xml"/><Relationship Id="rId1" Type="http://schemas.openxmlformats.org/officeDocument/2006/relationships/vmlDrawing" Target="../drawings/vmlDrawing9.v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24" Type="http://schemas.openxmlformats.org/officeDocument/2006/relationships/tags" Target="../tags/tag174.xml"/><Relationship Id="rId32" Type="http://schemas.openxmlformats.org/officeDocument/2006/relationships/tags" Target="../tags/tag182.xml"/><Relationship Id="rId37" Type="http://schemas.openxmlformats.org/officeDocument/2006/relationships/image" Target="../media/image6.jpeg"/><Relationship Id="rId5" Type="http://schemas.openxmlformats.org/officeDocument/2006/relationships/tags" Target="../tags/tag155.xml"/><Relationship Id="rId15" Type="http://schemas.openxmlformats.org/officeDocument/2006/relationships/tags" Target="../tags/tag165.xml"/><Relationship Id="rId23" Type="http://schemas.openxmlformats.org/officeDocument/2006/relationships/tags" Target="../tags/tag173.xml"/><Relationship Id="rId28" Type="http://schemas.openxmlformats.org/officeDocument/2006/relationships/tags" Target="../tags/tag178.xml"/><Relationship Id="rId36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10" Type="http://schemas.openxmlformats.org/officeDocument/2006/relationships/tags" Target="../tags/tag160.xml"/><Relationship Id="rId19" Type="http://schemas.openxmlformats.org/officeDocument/2006/relationships/tags" Target="../tags/tag169.xml"/><Relationship Id="rId31" Type="http://schemas.openxmlformats.org/officeDocument/2006/relationships/tags" Target="../tags/tag181.xml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tags" Target="../tags/tag164.xml"/><Relationship Id="rId22" Type="http://schemas.openxmlformats.org/officeDocument/2006/relationships/tags" Target="../tags/tag172.xml"/><Relationship Id="rId27" Type="http://schemas.openxmlformats.org/officeDocument/2006/relationships/tags" Target="../tags/tag177.xml"/><Relationship Id="rId30" Type="http://schemas.openxmlformats.org/officeDocument/2006/relationships/tags" Target="../tags/tag180.xml"/><Relationship Id="rId35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hyperlink" Target="http://www.zemlemer.info/_nw/11/45107.jpg" TargetMode="External"/><Relationship Id="rId3" Type="http://schemas.openxmlformats.org/officeDocument/2006/relationships/tags" Target="../tags/tag184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88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image" Target="../media/image6.jpeg"/><Relationship Id="rId2" Type="http://schemas.openxmlformats.org/officeDocument/2006/relationships/tags" Target="../tags/tag183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24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5" Type="http://schemas.openxmlformats.org/officeDocument/2006/relationships/tags" Target="../tags/tag186.xml"/><Relationship Id="rId15" Type="http://schemas.openxmlformats.org/officeDocument/2006/relationships/tags" Target="../tags/tag196.xml"/><Relationship Id="rId23" Type="http://schemas.openxmlformats.org/officeDocument/2006/relationships/oleObject" Target="../embeddings/oleObject10.bin"/><Relationship Id="rId10" Type="http://schemas.openxmlformats.org/officeDocument/2006/relationships/tags" Target="../tags/tag191.xml"/><Relationship Id="rId19" Type="http://schemas.openxmlformats.org/officeDocument/2006/relationships/tags" Target="../tags/tag200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tags" Target="../tags/tag195.xml"/><Relationship Id="rId22" Type="http://schemas.openxmlformats.org/officeDocument/2006/relationships/notesSlide" Target="../notesSlides/notesSlide9.xml"/><Relationship Id="rId27" Type="http://schemas.openxmlformats.org/officeDocument/2006/relationships/image" Target="../media/image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notesSlide" Target="../notesSlides/notesSlide10.xml"/><Relationship Id="rId2" Type="http://schemas.openxmlformats.org/officeDocument/2006/relationships/tags" Target="../tags/tag202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10" Type="http://schemas.openxmlformats.org/officeDocument/2006/relationships/tags" Target="../tags/tag210.xml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tags" Target="../tags/tag227.xml"/><Relationship Id="rId18" Type="http://schemas.openxmlformats.org/officeDocument/2006/relationships/tags" Target="../tags/tag232.xml"/><Relationship Id="rId3" Type="http://schemas.openxmlformats.org/officeDocument/2006/relationships/tags" Target="../tags/tag217.xml"/><Relationship Id="rId21" Type="http://schemas.openxmlformats.org/officeDocument/2006/relationships/oleObject" Target="../embeddings/oleObject12.bin"/><Relationship Id="rId7" Type="http://schemas.openxmlformats.org/officeDocument/2006/relationships/tags" Target="../tags/tag221.xml"/><Relationship Id="rId12" Type="http://schemas.openxmlformats.org/officeDocument/2006/relationships/tags" Target="../tags/tag226.xml"/><Relationship Id="rId17" Type="http://schemas.openxmlformats.org/officeDocument/2006/relationships/tags" Target="../tags/tag231.xml"/><Relationship Id="rId2" Type="http://schemas.openxmlformats.org/officeDocument/2006/relationships/tags" Target="../tags/tag216.xml"/><Relationship Id="rId16" Type="http://schemas.openxmlformats.org/officeDocument/2006/relationships/tags" Target="../tags/tag230.xml"/><Relationship Id="rId20" Type="http://schemas.openxmlformats.org/officeDocument/2006/relationships/notesSlide" Target="../notesSlides/notesSlide1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5" Type="http://schemas.openxmlformats.org/officeDocument/2006/relationships/tags" Target="../tags/tag219.xml"/><Relationship Id="rId15" Type="http://schemas.openxmlformats.org/officeDocument/2006/relationships/tags" Target="../tags/tag229.xml"/><Relationship Id="rId23" Type="http://schemas.openxmlformats.org/officeDocument/2006/relationships/image" Target="../media/image8.gif"/><Relationship Id="rId10" Type="http://schemas.openxmlformats.org/officeDocument/2006/relationships/tags" Target="../tags/tag224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tags" Target="../tags/tag228.xml"/><Relationship Id="rId22" Type="http://schemas.openxmlformats.org/officeDocument/2006/relationships/hyperlink" Target="http://img-fotki.yandex.ru/get/5607/coto48.1f/0_60514_5f9181a7_XL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40.xml"/><Relationship Id="rId13" Type="http://schemas.openxmlformats.org/officeDocument/2006/relationships/tags" Target="../tags/tag245.xml"/><Relationship Id="rId18" Type="http://schemas.openxmlformats.org/officeDocument/2006/relationships/tags" Target="../tags/tag250.xml"/><Relationship Id="rId26" Type="http://schemas.openxmlformats.org/officeDocument/2006/relationships/hyperlink" Target="http://www.kanzlider.ru/upload/iblock/134/13448beebc4712b9afba75e0148727ac.png" TargetMode="External"/><Relationship Id="rId3" Type="http://schemas.openxmlformats.org/officeDocument/2006/relationships/tags" Target="../tags/tag235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239.xml"/><Relationship Id="rId12" Type="http://schemas.openxmlformats.org/officeDocument/2006/relationships/tags" Target="../tags/tag244.xml"/><Relationship Id="rId17" Type="http://schemas.openxmlformats.org/officeDocument/2006/relationships/tags" Target="../tags/tag249.xml"/><Relationship Id="rId25" Type="http://schemas.openxmlformats.org/officeDocument/2006/relationships/image" Target="../media/image9.jpeg"/><Relationship Id="rId2" Type="http://schemas.openxmlformats.org/officeDocument/2006/relationships/tags" Target="../tags/tag234.xml"/><Relationship Id="rId16" Type="http://schemas.openxmlformats.org/officeDocument/2006/relationships/tags" Target="../tags/tag248.xml"/><Relationship Id="rId20" Type="http://schemas.openxmlformats.org/officeDocument/2006/relationships/tags" Target="../tags/tag25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38.xml"/><Relationship Id="rId11" Type="http://schemas.openxmlformats.org/officeDocument/2006/relationships/tags" Target="../tags/tag243.xml"/><Relationship Id="rId24" Type="http://schemas.openxmlformats.org/officeDocument/2006/relationships/hyperlink" Target="http://i25.fastpic.ru/big/2012/1007/93/5f5e42d283e3125caebde64f0c4c0b93.jpg" TargetMode="External"/><Relationship Id="rId5" Type="http://schemas.openxmlformats.org/officeDocument/2006/relationships/tags" Target="../tags/tag237.xml"/><Relationship Id="rId15" Type="http://schemas.openxmlformats.org/officeDocument/2006/relationships/tags" Target="../tags/tag247.xml"/><Relationship Id="rId23" Type="http://schemas.openxmlformats.org/officeDocument/2006/relationships/oleObject" Target="../embeddings/oleObject13.bin"/><Relationship Id="rId10" Type="http://schemas.openxmlformats.org/officeDocument/2006/relationships/tags" Target="../tags/tag242.xml"/><Relationship Id="rId19" Type="http://schemas.openxmlformats.org/officeDocument/2006/relationships/tags" Target="../tags/tag251.xml"/><Relationship Id="rId4" Type="http://schemas.openxmlformats.org/officeDocument/2006/relationships/tags" Target="../tags/tag236.xml"/><Relationship Id="rId9" Type="http://schemas.openxmlformats.org/officeDocument/2006/relationships/tags" Target="../tags/tag241.xml"/><Relationship Id="rId14" Type="http://schemas.openxmlformats.org/officeDocument/2006/relationships/tags" Target="../tags/tag246.xml"/><Relationship Id="rId22" Type="http://schemas.openxmlformats.org/officeDocument/2006/relationships/notesSlide" Target="../notesSlides/notesSlide12.xml"/><Relationship Id="rId27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9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3.jpeg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oleObject" Target="../embeddings/oleObject3.bin"/><Relationship Id="rId2" Type="http://schemas.openxmlformats.org/officeDocument/2006/relationships/tags" Target="../tags/tag22.xml"/><Relationship Id="rId16" Type="http://schemas.openxmlformats.org/officeDocument/2006/relationships/notesSlide" Target="../notesSlides/notesSlide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tags" Target="../tags/tag40.xml"/><Relationship Id="rId21" Type="http://schemas.openxmlformats.org/officeDocument/2006/relationships/notesSlide" Target="../notesSlides/notesSlide4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image" Target="../media/image5.png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image" Target="../media/image4.jpeg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hyperlink" Target="http://mediasubs.ru/group/uploads/li/lichnostnyij-rost-i-finansyi/image2/ItMDliMWJ.jpg" TargetMode="Externa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26" Type="http://schemas.openxmlformats.org/officeDocument/2006/relationships/tags" Target="../tags/tag81.xml"/><Relationship Id="rId3" Type="http://schemas.openxmlformats.org/officeDocument/2006/relationships/tags" Target="../tags/tag58.xml"/><Relationship Id="rId21" Type="http://schemas.openxmlformats.org/officeDocument/2006/relationships/tags" Target="../tags/tag76.xml"/><Relationship Id="rId34" Type="http://schemas.openxmlformats.org/officeDocument/2006/relationships/oleObject" Target="../embeddings/oleObject6.bin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33" Type="http://schemas.openxmlformats.org/officeDocument/2006/relationships/notesSlide" Target="../notesSlides/notesSlide5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0" Type="http://schemas.openxmlformats.org/officeDocument/2006/relationships/tags" Target="../tags/tag75.xml"/><Relationship Id="rId29" Type="http://schemas.openxmlformats.org/officeDocument/2006/relationships/tags" Target="../tags/tag84.xml"/><Relationship Id="rId1" Type="http://schemas.openxmlformats.org/officeDocument/2006/relationships/vmlDrawing" Target="../drawings/vmlDrawing6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tags" Target="../tags/tag79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31" Type="http://schemas.openxmlformats.org/officeDocument/2006/relationships/tags" Target="../tags/tag86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26" Type="http://schemas.openxmlformats.org/officeDocument/2006/relationships/tags" Target="../tags/tag111.xml"/><Relationship Id="rId39" Type="http://schemas.openxmlformats.org/officeDocument/2006/relationships/tags" Target="../tags/tag124.xml"/><Relationship Id="rId3" Type="http://schemas.openxmlformats.org/officeDocument/2006/relationships/tags" Target="../tags/tag88.xml"/><Relationship Id="rId21" Type="http://schemas.openxmlformats.org/officeDocument/2006/relationships/tags" Target="../tags/tag106.xml"/><Relationship Id="rId34" Type="http://schemas.openxmlformats.org/officeDocument/2006/relationships/tags" Target="../tags/tag119.xml"/><Relationship Id="rId42" Type="http://schemas.openxmlformats.org/officeDocument/2006/relationships/tags" Target="../tags/tag127.xml"/><Relationship Id="rId47" Type="http://schemas.openxmlformats.org/officeDocument/2006/relationships/image" Target="../media/image4.jpeg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tags" Target="../tags/tag110.xml"/><Relationship Id="rId33" Type="http://schemas.openxmlformats.org/officeDocument/2006/relationships/tags" Target="../tags/tag118.xml"/><Relationship Id="rId38" Type="http://schemas.openxmlformats.org/officeDocument/2006/relationships/tags" Target="../tags/tag123.xml"/><Relationship Id="rId46" Type="http://schemas.openxmlformats.org/officeDocument/2006/relationships/hyperlink" Target="http://mediasubs.ru/group/uploads/li/lichnostnyij-rost-i-finansyi/image2/ItMDliMWJ.jpg" TargetMode="Externa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tags" Target="../tags/tag105.xml"/><Relationship Id="rId29" Type="http://schemas.openxmlformats.org/officeDocument/2006/relationships/tags" Target="../tags/tag114.xml"/><Relationship Id="rId41" Type="http://schemas.openxmlformats.org/officeDocument/2006/relationships/tags" Target="../tags/tag126.xml"/><Relationship Id="rId1" Type="http://schemas.openxmlformats.org/officeDocument/2006/relationships/vmlDrawing" Target="../drawings/vmlDrawing7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tags" Target="../tags/tag109.xml"/><Relationship Id="rId32" Type="http://schemas.openxmlformats.org/officeDocument/2006/relationships/tags" Target="../tags/tag117.xml"/><Relationship Id="rId37" Type="http://schemas.openxmlformats.org/officeDocument/2006/relationships/tags" Target="../tags/tag122.xml"/><Relationship Id="rId40" Type="http://schemas.openxmlformats.org/officeDocument/2006/relationships/tags" Target="../tags/tag125.xml"/><Relationship Id="rId45" Type="http://schemas.openxmlformats.org/officeDocument/2006/relationships/oleObject" Target="../embeddings/oleObject7.bin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23" Type="http://schemas.openxmlformats.org/officeDocument/2006/relationships/tags" Target="../tags/tag108.xml"/><Relationship Id="rId28" Type="http://schemas.openxmlformats.org/officeDocument/2006/relationships/tags" Target="../tags/tag113.xml"/><Relationship Id="rId36" Type="http://schemas.openxmlformats.org/officeDocument/2006/relationships/tags" Target="../tags/tag121.xml"/><Relationship Id="rId49" Type="http://schemas.openxmlformats.org/officeDocument/2006/relationships/image" Target="../media/image6.jpeg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31" Type="http://schemas.openxmlformats.org/officeDocument/2006/relationships/tags" Target="../tags/tag116.xml"/><Relationship Id="rId44" Type="http://schemas.openxmlformats.org/officeDocument/2006/relationships/notesSlide" Target="../notesSlides/notesSlide6.xml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tags" Target="../tags/tag107.xml"/><Relationship Id="rId27" Type="http://schemas.openxmlformats.org/officeDocument/2006/relationships/tags" Target="../tags/tag112.xml"/><Relationship Id="rId30" Type="http://schemas.openxmlformats.org/officeDocument/2006/relationships/tags" Target="../tags/tag115.xml"/><Relationship Id="rId35" Type="http://schemas.openxmlformats.org/officeDocument/2006/relationships/tags" Target="../tags/tag120.xml"/><Relationship Id="rId43" Type="http://schemas.openxmlformats.org/officeDocument/2006/relationships/slideLayout" Target="../slideLayouts/slideLayout2.xml"/><Relationship Id="rId48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8" Type="http://schemas.openxmlformats.org/officeDocument/2006/relationships/tags" Target="../tags/tag9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129.xml"/><Relationship Id="rId21" Type="http://schemas.openxmlformats.org/officeDocument/2006/relationships/tags" Target="../tags/tag147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tags" Target="../tags/tag150.xml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oleObject" Target="../embeddings/oleObject8.bin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Торгово-промышленная палата РФ, г. Москва, ул. Ильинка, 5/2, </a:t>
            </a:r>
            <a:r>
              <a:rPr lang="ru-RU" sz="1200" dirty="0" err="1" smtClean="0">
                <a:latin typeface="+mn-lt"/>
                <a:ea typeface="+mj-ea"/>
                <a:cs typeface="Arial" pitchFamily="34" charset="0"/>
              </a:rPr>
              <a:t>каб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. 540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24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10.13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 1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4: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00</a:t>
            </a:r>
            <a:endParaRPr lang="ru-RU" sz="12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5106" name="think-cell Slide" r:id="rId35" imgW="360" imgH="360" progId="TCLayout.ActiveDocument.1">
              <p:embed/>
            </p:oleObj>
          </a:graphicData>
        </a:graphic>
      </p:graphicFrame>
      <p:sp>
        <p:nvSpPr>
          <p:cNvPr id="62" name="Прямоугольник 61"/>
          <p:cNvSpPr/>
          <p:nvPr>
            <p:custDataLst>
              <p:tags r:id="rId2"/>
            </p:custDataLst>
          </p:nvPr>
        </p:nvSpPr>
        <p:spPr>
          <a:xfrm>
            <a:off x="6643702" y="2643182"/>
            <a:ext cx="2214578" cy="57150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 60"/>
          <p:cNvSpPr/>
          <p:nvPr>
            <p:custDataLst>
              <p:tags r:id="rId3"/>
            </p:custDataLst>
          </p:nvPr>
        </p:nvSpPr>
        <p:spPr>
          <a:xfrm>
            <a:off x="2071670" y="2643182"/>
            <a:ext cx="2286016" cy="12144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>
            <p:custDataLst>
              <p:tags r:id="rId4"/>
            </p:custDataLst>
          </p:nvPr>
        </p:nvSpPr>
        <p:spPr>
          <a:xfrm>
            <a:off x="2071670" y="3214686"/>
            <a:ext cx="6786610" cy="714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>
            <p:custDataLst>
              <p:tags r:id="rId5"/>
            </p:custDataLst>
          </p:nvPr>
        </p:nvSpPr>
        <p:spPr>
          <a:xfrm>
            <a:off x="2071670" y="3929066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6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рынка труда оказывает как отрицательное, так и положительное воздействие на субъектов МСП г. Москвы </a:t>
            </a:r>
            <a:r>
              <a:rPr lang="ru-RU" dirty="0" smtClean="0"/>
              <a:t>в электронной промышленности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9"/>
            </p:custDataLst>
          </p:nvPr>
        </p:nvSpPr>
        <p:spPr>
          <a:xfrm>
            <a:off x="142844" y="2643248"/>
            <a:ext cx="1857388" cy="1214379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bg1"/>
                </a:solidFill>
              </a:rPr>
              <a:t>Рынок труда, трудовые ресурсы</a:t>
            </a:r>
          </a:p>
        </p:txBody>
      </p:sp>
      <p:sp>
        <p:nvSpPr>
          <p:cNvPr id="32" name="Rectangle 19"/>
          <p:cNvSpPr/>
          <p:nvPr>
            <p:custDataLst>
              <p:tags r:id="rId10"/>
            </p:custDataLst>
          </p:nvPr>
        </p:nvSpPr>
        <p:spPr>
          <a:xfrm>
            <a:off x="2071670" y="2643182"/>
            <a:ext cx="6786610" cy="1214446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1"/>
            </p:custDataLst>
          </p:nvPr>
        </p:nvCxnSpPr>
        <p:spPr>
          <a:xfrm rot="5400000">
            <a:off x="3771869" y="3271810"/>
            <a:ext cx="1171635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2"/>
            </p:custDataLst>
          </p:nvPr>
        </p:nvCxnSpPr>
        <p:spPr>
          <a:xfrm rot="5400000">
            <a:off x="6057885" y="3271810"/>
            <a:ext cx="1171635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Таблица 19"/>
          <p:cNvGraphicFramePr>
            <a:graphicFrameLocks noGrp="1"/>
          </p:cNvGraphicFramePr>
          <p:nvPr>
            <p:custDataLst>
              <p:tags r:id="rId13"/>
            </p:custDataLst>
          </p:nvPr>
        </p:nvGraphicFramePr>
        <p:xfrm>
          <a:off x="2071670" y="3929066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pic>
        <p:nvPicPr>
          <p:cNvPr id="19" name="Picture 7" descr="http://ivbb.ru/domain_dependent/ivbb.ru/uploadify/3d5b9ce52a570d78e6b4bf7f07f18550.jpg">
            <a:hlinkClick r:id="rId3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5383"/>
          <a:stretch>
            <a:fillRect/>
          </a:stretch>
        </p:blipFill>
        <p:spPr bwMode="auto">
          <a:xfrm>
            <a:off x="357158" y="4929198"/>
            <a:ext cx="1571636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57686" y="3214686"/>
            <a:ext cx="228601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ложности с привлечением талантливых молодых специалистов</a:t>
            </a:r>
            <a:endParaRPr lang="en-US" sz="1200" dirty="0" smtClean="0">
              <a:latin typeface="+mn-lt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6"/>
            </p:custDataLst>
          </p:nvPr>
        </p:nvSpPr>
        <p:spPr>
          <a:xfrm>
            <a:off x="6715140" y="4786322"/>
            <a:ext cx="2071702" cy="1428760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лабый уровень развития рыночных компетенций у многих российских организаций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7"/>
            </p:custDataLst>
          </p:nvPr>
        </p:nvSpPr>
        <p:spPr>
          <a:xfrm>
            <a:off x="4500562" y="4786322"/>
            <a:ext cx="2071702" cy="1428760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Неквалифицированная работа в отрасли не является престижной, что ограничивает доступ к кадрам. 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Квалифицированные кадры относительно дороги*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1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42844" y="3812449"/>
            <a:ext cx="20002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27" name="TextBox 1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-1588" y="6286520"/>
            <a:ext cx="843124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По данным 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IBM 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одовая з/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п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инженера-проектировщика средней квалификации до вычета налогов 44 тыс. долл. в год, а </a:t>
            </a:r>
            <a:r>
              <a:rPr lang="ru-RU" sz="1000" dirty="0" smtClean="0"/>
              <a:t> 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высококвалифицированного производственного работника – 23 тыс. долл. в год, что является высокими показателями в сравнении с мировым опытом</a:t>
            </a:r>
          </a:p>
          <a:p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20"/>
            </p:custDataLst>
          </p:nvPr>
        </p:nvSpPr>
        <p:spPr>
          <a:xfrm rot="10800000">
            <a:off x="2071671" y="1785927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0" y="1785926"/>
            <a:ext cx="207167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custDataLst>
              <p:tags r:id="rId22"/>
            </p:custDataLst>
          </p:nvPr>
        </p:nvGraphicFramePr>
        <p:xfrm>
          <a:off x="2071670" y="1714488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cxnSp>
        <p:nvCxnSpPr>
          <p:cNvPr id="43" name="Прямая соединительная линия 42"/>
          <p:cNvCxnSpPr/>
          <p:nvPr>
            <p:custDataLst>
              <p:tags r:id="rId23"/>
            </p:custDataLst>
          </p:nvPr>
        </p:nvCxnSpPr>
        <p:spPr>
          <a:xfrm>
            <a:off x="2071670" y="321468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>
            <p:custDataLst>
              <p:tags r:id="rId24"/>
            </p:custDataLst>
          </p:nvPr>
        </p:nvCxnSpPr>
        <p:spPr>
          <a:xfrm>
            <a:off x="4357686" y="321468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>
            <p:custDataLst>
              <p:tags r:id="rId25"/>
            </p:custDataLst>
          </p:nvPr>
        </p:nvCxnSpPr>
        <p:spPr>
          <a:xfrm>
            <a:off x="6643702" y="3214686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>
            <p:custDataLst>
              <p:tags r:id="rId26"/>
            </p:custDataLst>
          </p:nvPr>
        </p:nvCxnSpPr>
        <p:spPr>
          <a:xfrm>
            <a:off x="2071670" y="3286124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>
            <p:custDataLst>
              <p:tags r:id="rId27"/>
            </p:custDataLst>
          </p:nvPr>
        </p:nvCxnSpPr>
        <p:spPr>
          <a:xfrm>
            <a:off x="4357686" y="3286124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>
            <p:custDataLst>
              <p:tags r:id="rId28"/>
            </p:custDataLst>
          </p:nvPr>
        </p:nvCxnSpPr>
        <p:spPr>
          <a:xfrm>
            <a:off x="6643702" y="3286124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>
            <p:custDataLst>
              <p:tags r:id="rId29"/>
            </p:custDataLst>
          </p:nvPr>
        </p:nvSpPr>
        <p:spPr>
          <a:xfrm>
            <a:off x="6643702" y="3214686"/>
            <a:ext cx="22145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Низкая квалификация управленческих кадров / старение кадров</a:t>
            </a:r>
            <a:endParaRPr lang="ru-RU" sz="1200" dirty="0">
              <a:latin typeface="+mn-lt"/>
            </a:endParaRPr>
          </a:p>
        </p:txBody>
      </p:sp>
      <p:pic>
        <p:nvPicPr>
          <p:cNvPr id="57" name="Picture 16" descr="http://mediasubs.ru/group/uploads/li/lichnostnyij-rost-i-finansyi/image2/ItMDliMWJ.jpg">
            <a:hlinkClick r:id="rId38"/>
          </p:cNvPr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357158" y="785794"/>
            <a:ext cx="1428728" cy="1057260"/>
          </a:xfrm>
          <a:prstGeom prst="rect">
            <a:avLst/>
          </a:prstGeom>
          <a:noFill/>
        </p:spPr>
      </p:pic>
      <p:sp>
        <p:nvSpPr>
          <p:cNvPr id="58" name="Прямоугольник 57"/>
          <p:cNvSpPr/>
          <p:nvPr>
            <p:custDataLst>
              <p:tags r:id="rId31"/>
            </p:custDataLst>
          </p:nvPr>
        </p:nvSpPr>
        <p:spPr>
          <a:xfrm>
            <a:off x="4357686" y="785794"/>
            <a:ext cx="2286016" cy="92869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 г. Москве расположены 19 профильных ВУЗов, обучающих высококвалифицированные кадры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0" name="TextBox 30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4357686" y="2643182"/>
            <a:ext cx="22860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потенциал по созданию кадров в сегменте</a:t>
            </a:r>
            <a:endParaRPr lang="en-US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8418" name="think-cell Slide" r:id="rId23" imgW="360" imgH="360" progId="TCLayout.ActiveDocument.1">
              <p:embed/>
            </p:oleObj>
          </a:graphicData>
        </a:graphic>
      </p:graphicFrame>
      <p:sp>
        <p:nvSpPr>
          <p:cNvPr id="27" name="Прямоугольник 26"/>
          <p:cNvSpPr/>
          <p:nvPr>
            <p:custDataLst>
              <p:tags r:id="rId2"/>
            </p:custDataLst>
          </p:nvPr>
        </p:nvSpPr>
        <p:spPr>
          <a:xfrm>
            <a:off x="2071670" y="1785926"/>
            <a:ext cx="2286016" cy="10715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>
            <p:custDataLst>
              <p:tags r:id="rId3"/>
            </p:custDataLst>
          </p:nvPr>
        </p:nvSpPr>
        <p:spPr>
          <a:xfrm>
            <a:off x="2071670" y="857232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недвижимости оказывает отрицательное воздействие на субъекты МСП г. Москвы </a:t>
            </a:r>
            <a:r>
              <a:rPr lang="ru-RU" dirty="0" smtClean="0"/>
              <a:t>в электронной промышленности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1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Недвижимость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32" name="Rectangle 19"/>
          <p:cNvSpPr/>
          <p:nvPr>
            <p:custDataLst>
              <p:tags r:id="rId8"/>
            </p:custDataLst>
          </p:nvPr>
        </p:nvSpPr>
        <p:spPr>
          <a:xfrm>
            <a:off x="2071670" y="1771876"/>
            <a:ext cx="6786610" cy="108562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>
          <a:xfrm rot="5400000">
            <a:off x="3871967" y="2300339"/>
            <a:ext cx="97143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>
          <a:xfrm rot="5400000">
            <a:off x="6157983" y="2300339"/>
            <a:ext cx="97143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Таблица 19"/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2071670" y="857232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3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429124" y="1928802"/>
            <a:ext cx="214314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е ставки по аренде земли по итогам применения 670-ПП</a:t>
            </a:r>
            <a:endParaRPr lang="en-US" sz="1200" dirty="0" smtClean="0">
              <a:latin typeface="+mn-lt"/>
            </a:endParaRPr>
          </a:p>
        </p:txBody>
      </p:sp>
      <p:pic>
        <p:nvPicPr>
          <p:cNvPr id="19" name="Picture 7" descr="http://ivbb.ru/domain_dependent/ivbb.ru/uploadify/3d5b9ce52a570d78e6b4bf7f07f18550.jp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5383"/>
          <a:stretch>
            <a:fillRect/>
          </a:stretch>
        </p:blipFill>
        <p:spPr bwMode="auto">
          <a:xfrm>
            <a:off x="142844" y="2857496"/>
            <a:ext cx="1571636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Стрелка вниз 21"/>
          <p:cNvSpPr/>
          <p:nvPr>
            <p:custDataLst>
              <p:tags r:id="rId14"/>
            </p:custDataLst>
          </p:nvPr>
        </p:nvSpPr>
        <p:spPr>
          <a:xfrm>
            <a:off x="4786314" y="2928934"/>
            <a:ext cx="1214446" cy="164307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643702" y="1785926"/>
            <a:ext cx="214314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облема поиска и аренды помещения, удовлетворяющего требованиям и возможностям субъекта МСП</a:t>
            </a:r>
            <a:endParaRPr lang="en-US" sz="1200" dirty="0" smtClean="0">
              <a:latin typeface="+mn-lt"/>
            </a:endParaRPr>
          </a:p>
        </p:txBody>
      </p:sp>
      <p:sp>
        <p:nvSpPr>
          <p:cNvPr id="36" name="Стрелка вниз 35"/>
          <p:cNvSpPr/>
          <p:nvPr>
            <p:custDataLst>
              <p:tags r:id="rId16"/>
            </p:custDataLst>
          </p:nvPr>
        </p:nvSpPr>
        <p:spPr>
          <a:xfrm>
            <a:off x="7143768" y="2928934"/>
            <a:ext cx="1214446" cy="1714512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9748" name="Picture 4" descr="http://www.zemlemer.info/_nw/11/45107.jpg">
            <a:hlinkClick r:id="rId26"/>
          </p:cNvPr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1214414" y="4000504"/>
            <a:ext cx="3000396" cy="2178860"/>
          </a:xfrm>
          <a:prstGeom prst="rect">
            <a:avLst/>
          </a:prstGeom>
          <a:noFill/>
        </p:spPr>
      </p:pic>
      <p:sp>
        <p:nvSpPr>
          <p:cNvPr id="26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42844" y="857232"/>
            <a:ext cx="20002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30" name="Прямоугольник 29"/>
          <p:cNvSpPr/>
          <p:nvPr>
            <p:custDataLst>
              <p:tags r:id="rId19"/>
            </p:custDataLst>
          </p:nvPr>
        </p:nvSpPr>
        <p:spPr>
          <a:xfrm>
            <a:off x="6643702" y="4714884"/>
            <a:ext cx="2214578" cy="1500198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Несмотря на достаточно высокое количество сдаваемых помещений в г. Москве, поиск необходимого помещения затруднен из-за специфичности каждого запроса</a:t>
            </a:r>
          </a:p>
        </p:txBody>
      </p:sp>
      <p:sp>
        <p:nvSpPr>
          <p:cNvPr id="31" name="Прямоугольник 30"/>
          <p:cNvSpPr/>
          <p:nvPr>
            <p:custDataLst>
              <p:tags r:id="rId20"/>
            </p:custDataLst>
          </p:nvPr>
        </p:nvSpPr>
        <p:spPr>
          <a:xfrm>
            <a:off x="4429124" y="4714884"/>
            <a:ext cx="2000264" cy="1500198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бъекты МСП, арендующие значительные площади несут высокие дополнительные издержки, исключающие получение прибыл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1314" name="think-cell Slide" r:id="rId18" imgW="360" imgH="360" progId="TCLayout.ActiveDocument.1">
              <p:embed/>
            </p:oleObj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643438" y="928670"/>
          <a:ext cx="4357718" cy="5263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7718"/>
              </a:tblGrid>
              <a:tr h="50006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97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97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97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</a:t>
                      </a:r>
                      <a:r>
                        <a:rPr lang="ru-RU" sz="1400" dirty="0" smtClean="0"/>
                        <a:t>отрасли*</a:t>
                      </a:r>
                      <a:endParaRPr lang="ru-RU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14282" y="928670"/>
          <a:ext cx="4452926" cy="52920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2926"/>
              </a:tblGrid>
              <a:tr h="5000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конодательные факторы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логообложение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дминистративный климат и коррупция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ормативная правовая база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о итогам массового опроса выявлена средняя степень воздействия указанных факторов на субъекты МСП г. Москвы </a:t>
            </a:r>
            <a:r>
              <a:rPr lang="ru-RU" dirty="0" smtClean="0"/>
              <a:t>в производств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2</a:t>
            </a: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 производственных компаний, проведенного АНО «НИСИПП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*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руппа факторов требует детального понимания, в связи с чем планируется выявление степени востребованности в процессе проведения глубинных интервью и практических мероприятий с экспертами</a:t>
            </a:r>
          </a:p>
        </p:txBody>
      </p: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>
          <a:xfrm>
            <a:off x="285720" y="2714620"/>
            <a:ext cx="1622554" cy="1000132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38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5" name="Прямоугольник 14"/>
          <p:cNvSpPr/>
          <p:nvPr>
            <p:custDataLst>
              <p:tags r:id="rId9"/>
            </p:custDataLst>
          </p:nvPr>
        </p:nvSpPr>
        <p:spPr>
          <a:xfrm>
            <a:off x="285720" y="3857628"/>
            <a:ext cx="2630666" cy="107157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3%</a:t>
            </a:r>
            <a:endParaRPr lang="ru-RU" dirty="0"/>
          </a:p>
        </p:txBody>
      </p:sp>
      <p:sp>
        <p:nvSpPr>
          <p:cNvPr id="16" name="Прямоугольник 15"/>
          <p:cNvSpPr/>
          <p:nvPr>
            <p:custDataLst>
              <p:tags r:id="rId10"/>
            </p:custDataLst>
          </p:nvPr>
        </p:nvSpPr>
        <p:spPr>
          <a:xfrm>
            <a:off x="285720" y="5072074"/>
            <a:ext cx="2558658" cy="107157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1%</a:t>
            </a:r>
            <a:endParaRPr lang="ru-RU" dirty="0"/>
          </a:p>
        </p:txBody>
      </p:sp>
      <p:sp>
        <p:nvSpPr>
          <p:cNvPr id="17" name="Прямоугольник 16"/>
          <p:cNvSpPr/>
          <p:nvPr>
            <p:custDataLst>
              <p:tags r:id="rId11"/>
            </p:custDataLst>
          </p:nvPr>
        </p:nvSpPr>
        <p:spPr>
          <a:xfrm>
            <a:off x="4714876" y="4857760"/>
            <a:ext cx="3168922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7</a:t>
            </a:r>
            <a:r>
              <a:rPr lang="ru-RU" dirty="0" smtClean="0"/>
              <a:t>0%</a:t>
            </a:r>
            <a:endParaRPr lang="ru-RU" dirty="0"/>
          </a:p>
        </p:txBody>
      </p:sp>
      <p:sp>
        <p:nvSpPr>
          <p:cNvPr id="18" name="Прямоугольник 17"/>
          <p:cNvSpPr/>
          <p:nvPr>
            <p:custDataLst>
              <p:tags r:id="rId12"/>
            </p:custDataLst>
          </p:nvPr>
        </p:nvSpPr>
        <p:spPr>
          <a:xfrm>
            <a:off x="4714876" y="1500174"/>
            <a:ext cx="2016794" cy="35253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4</a:t>
            </a:r>
            <a:r>
              <a:rPr lang="ru-RU" dirty="0" smtClean="0"/>
              <a:t>0%</a:t>
            </a:r>
            <a:endParaRPr lang="ru-RU" dirty="0"/>
          </a:p>
        </p:txBody>
      </p:sp>
      <p:sp>
        <p:nvSpPr>
          <p:cNvPr id="19" name="Прямоугольник 18"/>
          <p:cNvSpPr/>
          <p:nvPr>
            <p:custDataLst>
              <p:tags r:id="rId13"/>
            </p:custDataLst>
          </p:nvPr>
        </p:nvSpPr>
        <p:spPr>
          <a:xfrm>
            <a:off x="4714876" y="2000241"/>
            <a:ext cx="2736874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2%</a:t>
            </a:r>
            <a:endParaRPr lang="ru-RU" dirty="0"/>
          </a:p>
        </p:txBody>
      </p:sp>
      <p:sp>
        <p:nvSpPr>
          <p:cNvPr id="20" name="Прямоугольник 19"/>
          <p:cNvSpPr/>
          <p:nvPr>
            <p:custDataLst>
              <p:tags r:id="rId14"/>
            </p:custDataLst>
          </p:nvPr>
        </p:nvSpPr>
        <p:spPr>
          <a:xfrm>
            <a:off x="4714876" y="2500307"/>
            <a:ext cx="1296714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30%</a:t>
            </a:r>
            <a:endParaRPr lang="ru-RU" dirty="0"/>
          </a:p>
        </p:txBody>
      </p:sp>
      <p:sp>
        <p:nvSpPr>
          <p:cNvPr id="23" name="Прямоугольник 22"/>
          <p:cNvSpPr/>
          <p:nvPr>
            <p:custDataLst>
              <p:tags r:id="rId15"/>
            </p:custDataLst>
          </p:nvPr>
        </p:nvSpPr>
        <p:spPr>
          <a:xfrm>
            <a:off x="285720" y="1500174"/>
            <a:ext cx="3206730" cy="107157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7</a:t>
            </a:r>
            <a:r>
              <a:rPr lang="ru-RU" dirty="0" smtClean="0"/>
              <a:t>3%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5650" name="think-cell Slide" r:id="rId21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Ряд вопросов проводимого исследования может быть эффективно решен на основе учета мнения экспертного сообщества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3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214282" y="78579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19"/>
          <p:cNvSpPr/>
          <p:nvPr>
            <p:custDataLst>
              <p:tags r:id="rId5"/>
            </p:custDataLst>
          </p:nvPr>
        </p:nvSpPr>
        <p:spPr>
          <a:xfrm>
            <a:off x="2143108" y="78579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0" name="Rectangle 19"/>
          <p:cNvSpPr/>
          <p:nvPr>
            <p:custDataLst>
              <p:tags r:id="rId6"/>
            </p:custDataLst>
          </p:nvPr>
        </p:nvSpPr>
        <p:spPr>
          <a:xfrm>
            <a:off x="2143108" y="1571612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3108" y="928670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еще факторы, </a:t>
            </a:r>
            <a:r>
              <a:rPr lang="ru-RU" sz="1200" dirty="0">
                <a:latin typeface="+mn-lt"/>
              </a:rPr>
              <a:t>способствующие формированию точек роста субъектов </a:t>
            </a:r>
            <a:r>
              <a:rPr lang="ru-RU" sz="1200" dirty="0" smtClean="0">
                <a:latin typeface="+mn-lt"/>
              </a:rPr>
              <a:t>в электронной промышленности, остались нерассмотренными? 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43108" y="2461763"/>
            <a:ext cx="65722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, на Ваш взгляд, точки роста субъектов МСП могут сформироваться в будущем в электронной промышленности? 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3108" y="3286124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какой степени государственная поддержка способна обеспечить формирование точек роста в электронной промышленности?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43108" y="4071942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факторы внешней среды необходимо развивать для того, чтобы сформировались новые точки роста и продолжалась динамика текущих?</a:t>
            </a:r>
            <a:endParaRPr lang="en-US" sz="1200" dirty="0" smtClean="0">
              <a:latin typeface="+mn-lt"/>
            </a:endParaRP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43108" y="5643578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Есть ли у Вас какие-либо невысказанные пожелания, предложения и комментарии по текущему исследованию?</a:t>
            </a:r>
            <a:endParaRPr lang="en-US" sz="1200" dirty="0" smtClean="0">
              <a:latin typeface="+mn-lt"/>
            </a:endParaRPr>
          </a:p>
        </p:txBody>
      </p:sp>
      <p:pic>
        <p:nvPicPr>
          <p:cNvPr id="149510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857232"/>
            <a:ext cx="429163" cy="642942"/>
          </a:xfrm>
          <a:prstGeom prst="rect">
            <a:avLst/>
          </a:prstGeom>
          <a:noFill/>
        </p:spPr>
      </p:pic>
      <p:sp>
        <p:nvSpPr>
          <p:cNvPr id="29" name="Rectangle 19"/>
          <p:cNvSpPr/>
          <p:nvPr>
            <p:custDataLst>
              <p:tags r:id="rId12"/>
            </p:custDataLst>
          </p:nvPr>
        </p:nvSpPr>
        <p:spPr>
          <a:xfrm>
            <a:off x="2143108" y="2357430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1" name="Rectangle 19"/>
          <p:cNvSpPr/>
          <p:nvPr>
            <p:custDataLst>
              <p:tags r:id="rId13"/>
            </p:custDataLst>
          </p:nvPr>
        </p:nvSpPr>
        <p:spPr>
          <a:xfrm>
            <a:off x="2143108" y="314324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2" name="Rectangle 19"/>
          <p:cNvSpPr/>
          <p:nvPr>
            <p:custDataLst>
              <p:tags r:id="rId14"/>
            </p:custDataLst>
          </p:nvPr>
        </p:nvSpPr>
        <p:spPr>
          <a:xfrm>
            <a:off x="2143108" y="3929066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3" name="Rectangle 19"/>
          <p:cNvSpPr/>
          <p:nvPr>
            <p:custDataLst>
              <p:tags r:id="rId15"/>
            </p:custDataLst>
          </p:nvPr>
        </p:nvSpPr>
        <p:spPr>
          <a:xfrm>
            <a:off x="2143108" y="5500702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4" name="Pentagon 18"/>
          <p:cNvSpPr/>
          <p:nvPr/>
        </p:nvSpPr>
        <p:spPr>
          <a:xfrm>
            <a:off x="214282" y="1571612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37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1643050"/>
            <a:ext cx="429163" cy="642942"/>
          </a:xfrm>
          <a:prstGeom prst="rect">
            <a:avLst/>
          </a:prstGeom>
          <a:noFill/>
        </p:spPr>
      </p:pic>
      <p:sp>
        <p:nvSpPr>
          <p:cNvPr id="38" name="Pentagon 18"/>
          <p:cNvSpPr/>
          <p:nvPr/>
        </p:nvSpPr>
        <p:spPr>
          <a:xfrm>
            <a:off x="214282" y="2357430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1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2428868"/>
            <a:ext cx="429163" cy="642942"/>
          </a:xfrm>
          <a:prstGeom prst="rect">
            <a:avLst/>
          </a:prstGeom>
          <a:noFill/>
        </p:spPr>
      </p:pic>
      <p:sp>
        <p:nvSpPr>
          <p:cNvPr id="42" name="Pentagon 18"/>
          <p:cNvSpPr/>
          <p:nvPr/>
        </p:nvSpPr>
        <p:spPr>
          <a:xfrm>
            <a:off x="214282" y="314324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3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3214686"/>
            <a:ext cx="429163" cy="642942"/>
          </a:xfrm>
          <a:prstGeom prst="rect">
            <a:avLst/>
          </a:prstGeom>
          <a:noFill/>
        </p:spPr>
      </p:pic>
      <p:sp>
        <p:nvSpPr>
          <p:cNvPr id="50" name="Pentagon 18"/>
          <p:cNvSpPr/>
          <p:nvPr/>
        </p:nvSpPr>
        <p:spPr>
          <a:xfrm>
            <a:off x="214282" y="3929066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1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4000504"/>
            <a:ext cx="429163" cy="642942"/>
          </a:xfrm>
          <a:prstGeom prst="rect">
            <a:avLst/>
          </a:prstGeom>
          <a:noFill/>
        </p:spPr>
      </p:pic>
      <p:sp>
        <p:nvSpPr>
          <p:cNvPr id="52" name="Pentagon 18"/>
          <p:cNvSpPr/>
          <p:nvPr/>
        </p:nvSpPr>
        <p:spPr>
          <a:xfrm>
            <a:off x="214282" y="5500702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4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5572140"/>
            <a:ext cx="429163" cy="642942"/>
          </a:xfrm>
          <a:prstGeom prst="rect">
            <a:avLst/>
          </a:prstGeom>
          <a:noFill/>
        </p:spPr>
      </p:pic>
      <p:sp>
        <p:nvSpPr>
          <p:cNvPr id="55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143108" y="1681451"/>
            <a:ext cx="657229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dirty="0" smtClean="0">
                <a:latin typeface="+mn-lt"/>
              </a:rPr>
              <a:t>, на Ваш взгляд, являются наиболее успешными в электронной промышленности? Возникали ли за последние 3-4 года новые успешны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dirty="0" smtClean="0">
                <a:latin typeface="+mn-lt"/>
              </a:rPr>
              <a:t> в данном сегменте? </a:t>
            </a:r>
            <a:endParaRPr lang="en-US" sz="1200" dirty="0" smtClean="0">
              <a:latin typeface="+mn-lt"/>
            </a:endParaRPr>
          </a:p>
        </p:txBody>
      </p:sp>
      <p:sp>
        <p:nvSpPr>
          <p:cNvPr id="49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143108" y="4857760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 Вы оцениваете состояние предпринимательской среды г. Москвы по сравнению с другими регионами России и мира?</a:t>
            </a:r>
            <a:endParaRPr lang="en-US" sz="1200" dirty="0" smtClean="0">
              <a:latin typeface="+mn-lt"/>
            </a:endParaRPr>
          </a:p>
        </p:txBody>
      </p:sp>
      <p:sp>
        <p:nvSpPr>
          <p:cNvPr id="56" name="Rectangle 19"/>
          <p:cNvSpPr/>
          <p:nvPr>
            <p:custDataLst>
              <p:tags r:id="rId18"/>
            </p:custDataLst>
          </p:nvPr>
        </p:nvSpPr>
        <p:spPr>
          <a:xfrm>
            <a:off x="2143108" y="471488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57" name="Pentagon 18"/>
          <p:cNvSpPr/>
          <p:nvPr/>
        </p:nvSpPr>
        <p:spPr>
          <a:xfrm>
            <a:off x="214282" y="471488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8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4786322"/>
            <a:ext cx="429163" cy="6429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2500306"/>
            <a:ext cx="9144000" cy="200026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пасибо за внимание!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4626" name="think-cell Slide" r:id="rId23" imgW="360" imgH="360" progId="TCLayout.ActiveDocument.1">
              <p:embed/>
            </p:oleObj>
          </a:graphicData>
        </a:graphic>
      </p:graphicFrame>
      <p:sp>
        <p:nvSpPr>
          <p:cNvPr id="23" name="Прямоугольник 2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6" name="Прямоугольник 5"/>
          <p:cNvSpPr/>
          <p:nvPr>
            <p:custDataLst>
              <p:tags r:id="rId3"/>
            </p:custDataLst>
          </p:nvPr>
        </p:nvSpPr>
        <p:spPr>
          <a:xfrm>
            <a:off x="264220" y="1335068"/>
            <a:ext cx="280831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264220" y="906439"/>
            <a:ext cx="2808311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каких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отраслях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существляется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поиск точек роста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8" name="Равнобедренный треугольник 7"/>
          <p:cNvSpPr/>
          <p:nvPr>
            <p:custDataLst>
              <p:tags r:id="rId5"/>
            </p:custDataLst>
          </p:nvPr>
        </p:nvSpPr>
        <p:spPr>
          <a:xfrm rot="5400000">
            <a:off x="1923544" y="2423584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Равнобедренный треугольник 8"/>
          <p:cNvSpPr/>
          <p:nvPr>
            <p:custDataLst>
              <p:tags r:id="rId6"/>
            </p:custDataLst>
          </p:nvPr>
        </p:nvSpPr>
        <p:spPr>
          <a:xfrm rot="10800000">
            <a:off x="3623241" y="3977149"/>
            <a:ext cx="5096831" cy="14400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7"/>
            </p:custDataLst>
          </p:nvPr>
        </p:nvSpPr>
        <p:spPr>
          <a:xfrm>
            <a:off x="3419871" y="4559468"/>
            <a:ext cx="5438409" cy="15841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>
            <a:off x="3419871" y="4188824"/>
            <a:ext cx="5438409" cy="370643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sym typeface="Arial"/>
              </a:rPr>
              <a:t>Что позволяет предполагать наличие в сегменте точки роста для МСП?</a:t>
            </a:r>
            <a:endParaRPr lang="ru-RU" sz="12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>
          <a:xfrm>
            <a:off x="3571868" y="4729001"/>
            <a:ext cx="2214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Число активно растущих компаний, представленных в анализе по каждому сегменту, не должно быть менее 10% от общего количества компаний в сегменте*</a:t>
            </a:r>
          </a:p>
        </p:txBody>
      </p:sp>
      <p:sp>
        <p:nvSpPr>
          <p:cNvPr id="13" name="AutoShap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396624" flipH="1">
            <a:off x="5908386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4" name="AutoShap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3376">
            <a:off x="5622634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>
          <a:xfrm>
            <a:off x="6357950" y="4906967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Темпы роста всех анализируемых показателей превышают среднерыночные (по всем видам деятельности)</a:t>
            </a:r>
          </a:p>
        </p:txBody>
      </p:sp>
      <p:sp>
        <p:nvSpPr>
          <p:cNvPr id="20" name="Прямоугольник 19"/>
          <p:cNvSpPr/>
          <p:nvPr>
            <p:custDataLst>
              <p:tags r:id="rId13"/>
            </p:custDataLst>
          </p:nvPr>
        </p:nvSpPr>
        <p:spPr>
          <a:xfrm>
            <a:off x="3428992" y="906439"/>
            <a:ext cx="5429288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Какие компании и данные о них должны быть проанализированы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Приложение 1. Методика выявления и исследования точек роста субъектов МСП за последние 3 года в разрезе разных отраслей</a:t>
            </a:r>
            <a:endParaRPr lang="ru-RU" b="1" dirty="0"/>
          </a:p>
        </p:txBody>
      </p:sp>
      <p:sp>
        <p:nvSpPr>
          <p:cNvPr id="40" name="Прямоугольник 39"/>
          <p:cNvSpPr/>
          <p:nvPr>
            <p:custDataLst>
              <p:tags r:id="rId15"/>
            </p:custDataLst>
          </p:nvPr>
        </p:nvSpPr>
        <p:spPr>
          <a:xfrm>
            <a:off x="3428992" y="1335067"/>
            <a:ext cx="5429288" cy="2571768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buFont typeface="+mj-lt"/>
              <a:buAutoNum type="arabicPeriod"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7158" y="1406506"/>
            <a:ext cx="257176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Были рассмотрены следующие приоритетные отрасли: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рабатывающее производство (2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роительство (5 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(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ранспорт и связь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перации с недвижимым имуществом, аренда и предоставление услуг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едоставление прочих коммунальных, социальных и персональных услуг (4 сегмента)</a:t>
            </a:r>
          </a:p>
        </p:txBody>
      </p:sp>
      <p:sp>
        <p:nvSpPr>
          <p:cNvPr id="44" name="Прямоугольник 43"/>
          <p:cNvSpPr/>
          <p:nvPr>
            <p:custDataLst>
              <p:tags r:id="rId17"/>
            </p:custDataLst>
          </p:nvPr>
        </p:nvSpPr>
        <p:spPr>
          <a:xfrm>
            <a:off x="3500430" y="1406506"/>
            <a:ext cx="521497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отобраны компании, предоставляющие необходимые финансовые данные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расчет темпов роста по основным показателям за период с 2009 по 2012 гг.: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</p:txBody>
      </p:sp>
      <p:sp>
        <p:nvSpPr>
          <p:cNvPr id="45" name="Прямоугольник 44"/>
          <p:cNvSpPr/>
          <p:nvPr>
            <p:custDataLst>
              <p:tags r:id="rId18"/>
            </p:custDataLst>
          </p:nvPr>
        </p:nvSpPr>
        <p:spPr>
          <a:xfrm>
            <a:off x="6500826" y="2335199"/>
            <a:ext cx="2286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полученные показатели очищены от инфляции</a:t>
            </a:r>
          </a:p>
        </p:txBody>
      </p:sp>
      <p:pic>
        <p:nvPicPr>
          <p:cNvPr id="98308" name="Picture 4" descr="http://i25.fastpic.ru/big/2012/1007/93/5f5e42d283e3125caebde64f0c4c0b93.jpg">
            <a:hlinkClick r:id="rId24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786578" y="2763827"/>
            <a:ext cx="1679525" cy="1114415"/>
          </a:xfrm>
          <a:prstGeom prst="rect">
            <a:avLst/>
          </a:prstGeom>
          <a:noFill/>
        </p:spPr>
      </p:pic>
      <p:sp>
        <p:nvSpPr>
          <p:cNvPr id="48" name="TextBox 1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-1588" y="6357958"/>
            <a:ext cx="82883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За исключением производства табачных изделий, в котором число компаний, присутствующих в сегменте слишком мало для формирования точки роста (не более 4 компаний в год предоставляют отчетность в СПАРК)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16741" name="Picture 5" descr="http://www.kanzlider.ru/upload/iblock/134/13448beebc4712b9afba75e0148727ac.png">
            <a:hlinkClick r:id="rId26"/>
          </p:cNvPr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5400000">
            <a:off x="1214414" y="4857760"/>
            <a:ext cx="1214446" cy="12144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58" name="think-cell Slide" r:id="rId16" imgW="360" imgH="360" progId="TCLayout.ActiveDocument.1">
              <p:embed/>
            </p:oleObj>
          </a:graphicData>
        </a:graphic>
      </p:graphicFrame>
      <p:sp>
        <p:nvSpPr>
          <p:cNvPr id="15" name="Rectangle 13"/>
          <p:cNvSpPr/>
          <p:nvPr>
            <p:custDataLst>
              <p:tags r:id="rId2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3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4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5"/>
            </p:custDataLst>
          </p:nvPr>
        </p:nvSpPr>
        <p:spPr>
          <a:xfrm>
            <a:off x="571472" y="3019425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Анализ российского и зарубежного опыта исследований предпринимательской среды</a:t>
            </a:r>
          </a:p>
          <a:p>
            <a:pPr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algn="just">
              <a:spcBef>
                <a:spcPts val="300"/>
              </a:spcBef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ики исследования текущего состояния предпринимательской среды в условиях ресурсных особенностей г. Москвы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7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8"/>
            </p:custDataLst>
          </p:nvPr>
        </p:nvSpPr>
        <p:spPr bwMode="gray">
          <a:xfrm>
            <a:off x="2928926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9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1"/>
            </p:custDataLst>
          </p:nvPr>
        </p:nvSpPr>
        <p:spPr bwMode="gray">
          <a:xfrm>
            <a:off x="5857884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4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1074" name="think-cell Slide" r:id="rId8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ля каждой выявленной точки роста субъектов МСП г. Москвы анализируются группы внешних факторов среды, способных оказать существенное воздействие на их формировани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4643438" y="928670"/>
          <a:ext cx="4357718" cy="5263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7718"/>
              </a:tblGrid>
              <a:tr h="50006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97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97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97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214282" y="928670"/>
          <a:ext cx="4452926" cy="52920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2926"/>
              </a:tblGrid>
              <a:tr h="5000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конодательные факторы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логообложение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дминистративный климат и коррупция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ормативная правовая база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427" name="think-cell Slide" r:id="rId17" imgW="360" imgH="360" progId="TCLayout.ActiveDocument.1">
              <p:embed/>
            </p:oleObj>
          </a:graphicData>
        </a:graphic>
      </p:graphicFrame>
      <p:pic>
        <p:nvPicPr>
          <p:cNvPr id="26" name="Рисунок 25" descr="kpi1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 cstate="print"/>
          <a:stretch>
            <a:fillRect/>
          </a:stretch>
        </p:blipFill>
        <p:spPr>
          <a:xfrm>
            <a:off x="8385135" y="5715016"/>
            <a:ext cx="473145" cy="3981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«Обрабатывающем производстве</a:t>
            </a:r>
            <a:r>
              <a:rPr lang="ru-RU" b="1" smtClean="0">
                <a:latin typeface="+mj-lt"/>
              </a:rPr>
              <a:t>» </a:t>
            </a:r>
            <a:r>
              <a:rPr lang="ru-RU" smtClean="0">
                <a:latin typeface="+mj-lt"/>
              </a:rPr>
              <a:t>были выявлены две точки </a:t>
            </a:r>
            <a:r>
              <a:rPr lang="ru-RU" dirty="0" smtClean="0">
                <a:latin typeface="+mj-lt"/>
              </a:rPr>
              <a:t>роста, связанные с электронной промышленностью</a:t>
            </a:r>
            <a:endParaRPr lang="ru-RU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326051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</a:t>
            </a:r>
          </a:p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Сегменты, включающие до 30 компаний, предоставляющих отчетность, не рассматривались как потенциальные точки роста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357950" y="1714488"/>
            <a:ext cx="2500330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6357950" y="857232"/>
            <a:ext cx="2500330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ыделены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сегменты, характеризующийся высокими темпами роста по всем показателям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7"/>
            </p:custDataLst>
          </p:nvPr>
        </p:nvSpPr>
        <p:spPr>
          <a:xfrm>
            <a:off x="264220" y="1335068"/>
            <a:ext cx="3021895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8"/>
            </p:custDataLst>
          </p:nvPr>
        </p:nvSpPr>
        <p:spPr>
          <a:xfrm>
            <a:off x="264221" y="857232"/>
            <a:ext cx="3021896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Исследованы компании в 23 сегментах раздела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брабатывающие производства*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60" name="Равнобедренный треугольник 59"/>
          <p:cNvSpPr/>
          <p:nvPr/>
        </p:nvSpPr>
        <p:spPr>
          <a:xfrm rot="5400000">
            <a:off x="2123858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43" name="Прямоугольник 42"/>
          <p:cNvSpPr/>
          <p:nvPr>
            <p:custDataLst>
              <p:tags r:id="rId9"/>
            </p:custDataLst>
          </p:nvPr>
        </p:nvSpPr>
        <p:spPr>
          <a:xfrm>
            <a:off x="357158" y="1785927"/>
            <a:ext cx="292895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Исследовано </a:t>
            </a:r>
            <a:r>
              <a:rPr lang="en-US" sz="1200" dirty="0" smtClean="0">
                <a:latin typeface="+mn-lt"/>
              </a:rPr>
              <a:t>~</a:t>
            </a:r>
            <a:r>
              <a:rPr lang="ru-RU" sz="1200" dirty="0" smtClean="0">
                <a:latin typeface="+mn-lt"/>
              </a:rPr>
              <a:t>3,4 тыс. компаний, предоставлявших информацию по следующим показателям за 2009-2012 гг.</a:t>
            </a:r>
            <a:r>
              <a:rPr lang="en-US" sz="1200" dirty="0" smtClean="0">
                <a:latin typeface="+mn-lt"/>
              </a:rPr>
              <a:t>:</a:t>
            </a:r>
            <a:endParaRPr lang="ru-RU" sz="1200" dirty="0" smtClean="0">
              <a:latin typeface="+mn-lt"/>
            </a:endParaRP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  <a:p>
            <a:pPr marL="800100" lvl="1" indent="-258763" algn="just">
              <a:spcAft>
                <a:spcPts val="600"/>
              </a:spcAft>
            </a:pPr>
            <a:endParaRPr lang="en-US" sz="1200" dirty="0" smtClean="0">
              <a:latin typeface="+mn-lt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10"/>
            </p:custDataLst>
          </p:nvPr>
        </p:nvSpPr>
        <p:spPr>
          <a:xfrm>
            <a:off x="357158" y="4286256"/>
            <a:ext cx="2928958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ассчитаны средние темпы роста указанных показателей за 2009-2012 гг. для каждого сегмента</a:t>
            </a:r>
          </a:p>
          <a:p>
            <a:pPr marL="800100" lvl="1" indent="-258763" algn="just">
              <a:spcAft>
                <a:spcPts val="600"/>
              </a:spcAft>
            </a:pPr>
            <a:endParaRPr lang="en-US" sz="1200" dirty="0" smtClean="0">
              <a:latin typeface="+mn-lt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11"/>
            </p:custDataLst>
          </p:nvPr>
        </p:nvSpPr>
        <p:spPr>
          <a:xfrm>
            <a:off x="357158" y="5572140"/>
            <a:ext cx="29289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Темпы роста исследуемых показателей сопоставлены со среднерыночными</a:t>
            </a:r>
          </a:p>
        </p:txBody>
      </p:sp>
      <p:sp>
        <p:nvSpPr>
          <p:cNvPr id="46" name="Стрелка вниз 45"/>
          <p:cNvSpPr/>
          <p:nvPr/>
        </p:nvSpPr>
        <p:spPr>
          <a:xfrm>
            <a:off x="1285852" y="3786190"/>
            <a:ext cx="928694" cy="5000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трелка вниз 46"/>
          <p:cNvSpPr/>
          <p:nvPr/>
        </p:nvSpPr>
        <p:spPr>
          <a:xfrm>
            <a:off x="1285852" y="4929198"/>
            <a:ext cx="928694" cy="5000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>
            <p:custDataLst>
              <p:tags r:id="rId12"/>
            </p:custDataLst>
          </p:nvPr>
        </p:nvSpPr>
        <p:spPr>
          <a:xfrm>
            <a:off x="3571868" y="1714488"/>
            <a:ext cx="2500330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9" name="Равнобедренный треугольник 48"/>
          <p:cNvSpPr/>
          <p:nvPr>
            <p:custDataLst>
              <p:tags r:id="rId13"/>
            </p:custDataLst>
          </p:nvPr>
        </p:nvSpPr>
        <p:spPr>
          <a:xfrm rot="5400000">
            <a:off x="4909940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14"/>
            </p:custDataLst>
          </p:nvPr>
        </p:nvSpPr>
        <p:spPr>
          <a:xfrm>
            <a:off x="3571868" y="857232"/>
            <a:ext cx="2500330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По итогам массового опроса выявлены положительные тенденции в сфере производства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357950" y="1714488"/>
            <a:ext cx="2500330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изводство электрических машин и электрооборудования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изводство судов, летательных и космических аппаратов и прочих транспортных средств</a:t>
            </a:r>
            <a:endParaRPr lang="ru-RU" sz="1200" dirty="0">
              <a:latin typeface="+mn-lt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3714744" y="1785926"/>
            <a:ext cx="2236116" cy="4468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lvl="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en-US" sz="1200" b="1" dirty="0" smtClean="0">
                <a:solidFill>
                  <a:prstClr val="black"/>
                </a:solidFill>
                <a:latin typeface="Calibri"/>
              </a:rPr>
              <a:t>35%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 производственных МСП не испытывают сложностей с организацией производства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;</a:t>
            </a:r>
          </a:p>
          <a:p>
            <a:pPr marL="177800" lvl="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en-US" sz="1200" b="1" dirty="0" smtClean="0">
                <a:solidFill>
                  <a:prstClr val="black"/>
                </a:solidFill>
                <a:latin typeface="Calibri"/>
              </a:rPr>
              <a:t>32%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 респондентов существуют от года до двух лет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;</a:t>
            </a:r>
            <a:endParaRPr lang="ru-RU" sz="1200" dirty="0" smtClean="0">
              <a:solidFill>
                <a:prstClr val="black"/>
              </a:solidFill>
              <a:latin typeface="Calibri"/>
            </a:endParaRPr>
          </a:p>
          <a:p>
            <a:pPr marL="177800" lvl="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prstClr val="black"/>
                </a:solidFill>
                <a:latin typeface="Calibri"/>
              </a:rPr>
              <a:t>30%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респондентов наблюдали рост числа компаний за последние 3 года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;</a:t>
            </a:r>
            <a:endParaRPr lang="ru-RU" sz="1200" dirty="0" smtClean="0">
              <a:solidFill>
                <a:prstClr val="black"/>
              </a:solidFill>
              <a:latin typeface="Calibri"/>
            </a:endParaRPr>
          </a:p>
          <a:p>
            <a:pPr marL="177800" lvl="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prstClr val="black"/>
                </a:solidFill>
                <a:latin typeface="Calibri"/>
              </a:rPr>
              <a:t>57%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компаний находятся на стадии роста, </a:t>
            </a:r>
            <a:r>
              <a:rPr lang="ru-RU" sz="1200" b="1" dirty="0" smtClean="0">
                <a:solidFill>
                  <a:prstClr val="black"/>
                </a:solidFill>
                <a:latin typeface="Calibri"/>
              </a:rPr>
              <a:t>34%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– на стадии зрелости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;</a:t>
            </a:r>
            <a:endParaRPr lang="ru-RU" sz="1200" dirty="0" smtClean="0">
              <a:solidFill>
                <a:prstClr val="black"/>
              </a:solidFill>
              <a:latin typeface="Calibri"/>
            </a:endParaRPr>
          </a:p>
          <a:p>
            <a:pPr marL="177800" lvl="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prstClr val="black"/>
                </a:solidFill>
                <a:latin typeface="Calibri"/>
              </a:rPr>
              <a:t>42%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увеличили натуральный объем продаж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;</a:t>
            </a:r>
          </a:p>
          <a:p>
            <a:pPr marL="177800" lvl="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у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200" b="1" dirty="0" smtClean="0">
                <a:solidFill>
                  <a:prstClr val="black"/>
                </a:solidFill>
                <a:latin typeface="Calibri"/>
              </a:rPr>
              <a:t>42%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улучшилась деятельность за последние 2-3 года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;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 </a:t>
            </a:r>
          </a:p>
          <a:p>
            <a:pPr marL="177800" lvl="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prstClr val="black"/>
                </a:solidFill>
                <a:latin typeface="Calibri"/>
              </a:rPr>
              <a:t>65% </a:t>
            </a:r>
            <a:r>
              <a:rPr lang="ru-RU" sz="1200" dirty="0" smtClean="0">
                <a:solidFill>
                  <a:prstClr val="black"/>
                </a:solidFill>
                <a:latin typeface="Calibri"/>
              </a:rPr>
              <a:t>считают свое финансовое положение успешным и в целом удовлетворительным</a:t>
            </a:r>
            <a:r>
              <a:rPr lang="en-US" sz="1200" dirty="0" smtClean="0">
                <a:solidFill>
                  <a:prstClr val="black"/>
                </a:solidFill>
                <a:latin typeface="Calibri"/>
              </a:rPr>
              <a:t>.</a:t>
            </a:r>
            <a:endParaRPr lang="ru-RU" sz="1200" dirty="0" smtClean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6357950" y="3143248"/>
            <a:ext cx="250033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/>
        </p:nvSpPr>
        <p:spPr>
          <a:xfrm>
            <a:off x="6357950" y="2857496"/>
            <a:ext cx="2500330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ыделены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сегменты, характеризующийся высокими темпами роста по большинству показателей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357950" y="3714752"/>
            <a:ext cx="2500330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изводство электронных компонентов, аппаратуры для радио, телевидения и связи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изводство офисного оборудования и вычислительной техники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изводство медицинских изделий; средств измерений, контроля, управления и испытаний; оптических приборов, фото- и кинооборудования; часо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6194" name="think-cell Slide" r:id="rId8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На субъекты МСП </a:t>
            </a:r>
            <a:r>
              <a:rPr lang="ru-RU" dirty="0" smtClean="0"/>
              <a:t>в электронной промышленности</a:t>
            </a:r>
            <a:r>
              <a:rPr lang="ru-RU" dirty="0" smtClean="0">
                <a:latin typeface="+mj-lt"/>
              </a:rPr>
              <a:t> наибольшее воздействие оказывают группы факторов, связанные с инфраструктурой, государственной поддержкой, рынком труда и финансовыми ресурсами*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По результатам кабинетного исследования и опроса экспертов в формате глубинных интервью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4643438" y="928670"/>
          <a:ext cx="4357718" cy="5263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7718"/>
              </a:tblGrid>
              <a:tr h="50006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8897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97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5234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88979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214282" y="928670"/>
          <a:ext cx="4452926" cy="52920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2926"/>
              </a:tblGrid>
              <a:tr h="50006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конодательные факторы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логообложение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дминистративный климат и коррупция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1980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ормативная правовая база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30" name="think-cell Slide" r:id="rId22" imgW="360" imgH="360" progId="TCLayout.ActiveDocument.1">
              <p:embed/>
            </p:oleObj>
          </a:graphicData>
        </a:graphic>
      </p:graphicFrame>
      <p:pic>
        <p:nvPicPr>
          <p:cNvPr id="42" name="Picture 16" descr="http://mediasubs.ru/group/uploads/li/lichnostnyij-rost-i-finansyi/image2/ItMDliMWJ.jpg">
            <a:hlinkClick r:id="rId23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0" y="3124698"/>
            <a:ext cx="2148898" cy="1590186"/>
          </a:xfrm>
          <a:prstGeom prst="rect">
            <a:avLst/>
          </a:prstGeom>
          <a:noFill/>
        </p:spPr>
      </p:pic>
      <p:sp>
        <p:nvSpPr>
          <p:cNvPr id="31" name="Прямоугольник 30"/>
          <p:cNvSpPr/>
          <p:nvPr>
            <p:custDataLst>
              <p:tags r:id="rId3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0" name="Прямоугольник 19"/>
          <p:cNvSpPr/>
          <p:nvPr>
            <p:custDataLst>
              <p:tags r:id="rId5"/>
            </p:custDataLst>
          </p:nvPr>
        </p:nvSpPr>
        <p:spPr>
          <a:xfrm>
            <a:off x="2071670" y="1785926"/>
            <a:ext cx="2286016" cy="13573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4934" name="Picture 6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2157411" y="4214818"/>
            <a:ext cx="2200275" cy="193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3" name="Прямоугольник 52"/>
          <p:cNvSpPr/>
          <p:nvPr>
            <p:custDataLst>
              <p:tags r:id="rId7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8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ие мероприятия государственной поддержки оказывают положительное воздействие на субъекты МСП г. Москвы </a:t>
            </a:r>
            <a:r>
              <a:rPr lang="ru-RU" dirty="0" smtClean="0"/>
              <a:t>в электронной промышленности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6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10"/>
            </p:custDataLst>
          </p:nvPr>
        </p:nvSpPr>
        <p:spPr>
          <a:xfrm>
            <a:off x="142844" y="1771876"/>
            <a:ext cx="1857388" cy="137137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Мероприятия государственной поддержк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2"/>
            </p:custDataLst>
          </p:nvPr>
        </p:nvCxnSpPr>
        <p:spPr>
          <a:xfrm rot="5400000">
            <a:off x="3729091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3"/>
            </p:custDataLst>
          </p:nvPr>
        </p:nvCxnSpPr>
        <p:spPr>
          <a:xfrm rot="5400000">
            <a:off x="6015107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трелка вниз 36"/>
          <p:cNvSpPr/>
          <p:nvPr>
            <p:custDataLst>
              <p:tags r:id="rId14"/>
            </p:custDataLst>
          </p:nvPr>
        </p:nvSpPr>
        <p:spPr>
          <a:xfrm>
            <a:off x="7143768" y="3286124"/>
            <a:ext cx="1214446" cy="107157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57686" y="4500570"/>
            <a:ext cx="4500594" cy="1323439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63638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лизинга</a:t>
            </a:r>
          </a:p>
          <a:p>
            <a:pPr marL="1163638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Льготы по аренде</a:t>
            </a:r>
          </a:p>
          <a:p>
            <a:pPr marL="1163638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кредитования</a:t>
            </a:r>
          </a:p>
          <a:p>
            <a:pPr marL="1163638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выставочной деятельности</a:t>
            </a:r>
          </a:p>
          <a:p>
            <a:pPr marL="1163638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учение кадров</a:t>
            </a:r>
          </a:p>
        </p:txBody>
      </p:sp>
      <p:sp>
        <p:nvSpPr>
          <p:cNvPr id="43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572264" y="1857364"/>
            <a:ext cx="235745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Мероприятия поддержки, реализуемые в рамках подпрограммы «Развитие малого и среднего предпринимательства в г. Москве на 2012-2016 гг.»</a:t>
            </a:r>
          </a:p>
        </p:txBody>
      </p:sp>
      <p:sp>
        <p:nvSpPr>
          <p:cNvPr id="32" name="Rectangle 19"/>
          <p:cNvSpPr/>
          <p:nvPr>
            <p:custDataLst>
              <p:tags r:id="rId17"/>
            </p:custDataLst>
          </p:nvPr>
        </p:nvSpPr>
        <p:spPr>
          <a:xfrm>
            <a:off x="2071670" y="1771876"/>
            <a:ext cx="6786610" cy="137137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8" name="TextBox 3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357686" y="1758253"/>
            <a:ext cx="235745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Мероприятия поддержки, реализуемые в рамках подпрограммы «Реструктуризация и стимулирование развития промышленности в</a:t>
            </a:r>
          </a:p>
          <a:p>
            <a:pPr algn="ctr"/>
            <a:r>
              <a:rPr lang="ru-RU" sz="1200" dirty="0" smtClean="0">
                <a:latin typeface="+mn-lt"/>
              </a:rPr>
              <a:t>городе Москве на 2012-2016 гг.»</a:t>
            </a:r>
          </a:p>
        </p:txBody>
      </p:sp>
      <p:sp>
        <p:nvSpPr>
          <p:cNvPr id="19" name="Стрелка вниз 18"/>
          <p:cNvSpPr/>
          <p:nvPr>
            <p:custDataLst>
              <p:tags r:id="rId19"/>
            </p:custDataLst>
          </p:nvPr>
        </p:nvSpPr>
        <p:spPr>
          <a:xfrm>
            <a:off x="4857752" y="3286124"/>
            <a:ext cx="1214446" cy="107157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7634" name="think-cell Slide" r:id="rId34" imgW="360" imgH="360" progId="TCLayout.ActiveDocument.1">
              <p:embed/>
            </p:oleObj>
          </a:graphicData>
        </a:graphic>
      </p:graphicFrame>
      <p:sp>
        <p:nvSpPr>
          <p:cNvPr id="72" name="Прямоугольник 71"/>
          <p:cNvSpPr/>
          <p:nvPr>
            <p:custDataLst>
              <p:tags r:id="rId2"/>
            </p:custDataLst>
          </p:nvPr>
        </p:nvSpPr>
        <p:spPr>
          <a:xfrm>
            <a:off x="4357686" y="3214686"/>
            <a:ext cx="2286016" cy="9286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8" name="Прямоугольник 57"/>
          <p:cNvSpPr/>
          <p:nvPr>
            <p:custDataLst>
              <p:tags r:id="rId3"/>
            </p:custDataLst>
          </p:nvPr>
        </p:nvSpPr>
        <p:spPr>
          <a:xfrm>
            <a:off x="4357686" y="3214686"/>
            <a:ext cx="2286016" cy="1428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>
            <p:custDataLst>
              <p:tags r:id="rId4"/>
            </p:custDataLst>
          </p:nvPr>
        </p:nvSpPr>
        <p:spPr>
          <a:xfrm>
            <a:off x="2071670" y="3214686"/>
            <a:ext cx="2286016" cy="9286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6643702" y="3214686"/>
            <a:ext cx="2214578" cy="1428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6"/>
            </p:custDataLst>
          </p:nvPr>
        </p:nvSpPr>
        <p:spPr>
          <a:xfrm rot="10800000">
            <a:off x="2071670" y="78579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7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8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нормативной правовой базы оказывают как положительное, так и отрицательное </a:t>
            </a:r>
            <a:r>
              <a:rPr lang="ru-RU" dirty="0" smtClean="0"/>
              <a:t>воздействие на субъекты МСП г. Москвы в электронной промышленности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="" xmlns:p14="http://schemas.microsoft.com/office/powerpoint/2010/main" val="3803609240"/>
              </p:ext>
            </p:extLst>
          </p:nvPr>
        </p:nvGraphicFramePr>
        <p:xfrm>
          <a:off x="2071670" y="785794"/>
          <a:ext cx="6858048" cy="8612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6124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11"/>
            </p:custDataLst>
          </p:nvPr>
        </p:nvSpPr>
        <p:spPr>
          <a:xfrm>
            <a:off x="142844" y="1643050"/>
            <a:ext cx="1857388" cy="246018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Нормативная правовая база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-71470" y="928670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*</a:t>
            </a:r>
          </a:p>
        </p:txBody>
      </p:sp>
      <p:sp>
        <p:nvSpPr>
          <p:cNvPr id="32" name="Rectangle 19"/>
          <p:cNvSpPr/>
          <p:nvPr>
            <p:custDataLst>
              <p:tags r:id="rId13"/>
            </p:custDataLst>
          </p:nvPr>
        </p:nvSpPr>
        <p:spPr>
          <a:xfrm>
            <a:off x="2071670" y="1643050"/>
            <a:ext cx="6786610" cy="250033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4"/>
            </p:custDataLst>
          </p:nvPr>
        </p:nvCxnSpPr>
        <p:spPr>
          <a:xfrm rot="5400000">
            <a:off x="3122723" y="2878013"/>
            <a:ext cx="246992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>
            <p:custDataLst>
              <p:tags r:id="rId15"/>
            </p:custDataLst>
          </p:nvPr>
        </p:nvSpPr>
        <p:spPr>
          <a:xfrm>
            <a:off x="2071670" y="4214818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custDataLst>
              <p:tags r:id="rId16"/>
            </p:custDataLst>
            <p:extLst>
              <p:ext uri="{D42A27DB-BD31-4B8C-83A1-F6EECF244321}">
                <p14:modId xmlns="" xmlns:p14="http://schemas.microsoft.com/office/powerpoint/2010/main" val="1898590413"/>
              </p:ext>
            </p:extLst>
          </p:nvPr>
        </p:nvGraphicFramePr>
        <p:xfrm>
          <a:off x="2071670" y="4214818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43" name="Rectangle 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-71438" y="4335487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Отрицательное воздействие фактора</a:t>
            </a:r>
          </a:p>
        </p:txBody>
      </p:sp>
      <p:cxnSp>
        <p:nvCxnSpPr>
          <p:cNvPr id="27" name="Прямая соединительная линия 26"/>
          <p:cNvCxnSpPr/>
          <p:nvPr>
            <p:custDataLst>
              <p:tags r:id="rId18"/>
            </p:custDataLst>
          </p:nvPr>
        </p:nvCxnSpPr>
        <p:spPr>
          <a:xfrm>
            <a:off x="2071670" y="3357562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>
            <p:custDataLst>
              <p:tags r:id="rId19"/>
            </p:custDataLst>
          </p:nvPr>
        </p:nvCxnSpPr>
        <p:spPr>
          <a:xfrm>
            <a:off x="6643702" y="3357562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>
            <p:custDataLst>
              <p:tags r:id="rId20"/>
            </p:custDataLst>
          </p:nvPr>
        </p:nvCxnSpPr>
        <p:spPr>
          <a:xfrm>
            <a:off x="4357686" y="321468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>
            <p:custDataLst>
              <p:tags r:id="rId21"/>
            </p:custDataLst>
          </p:nvPr>
        </p:nvSpPr>
        <p:spPr>
          <a:xfrm>
            <a:off x="6643702" y="5000636"/>
            <a:ext cx="2214578" cy="1214446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Необходимость использования компонентов, не в полной мере соответствующих требованиям реализуемой задачи</a:t>
            </a:r>
            <a:endParaRPr lang="ru-RU" sz="1200" b="1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52" name="TextBox 3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071670" y="1928802"/>
            <a:ext cx="228601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Отдельные концептуальные и нормативные документы, влияющие на развитие глобального рынка радиоэлектроники</a:t>
            </a:r>
            <a:endParaRPr lang="en-US" sz="1200" dirty="0" smtClean="0">
              <a:latin typeface="+mn-lt"/>
            </a:endParaRPr>
          </a:p>
        </p:txBody>
      </p:sp>
      <p:sp>
        <p:nvSpPr>
          <p:cNvPr id="54" name="TextBox 3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643702" y="1643050"/>
            <a:ext cx="221457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«Развитие электронной и радиоэлектронной промышленности на 2013-2025 гг.»</a:t>
            </a:r>
            <a:endParaRPr lang="en-US" sz="1200" dirty="0" smtClean="0">
              <a:latin typeface="+mn-lt"/>
            </a:endParaRPr>
          </a:p>
        </p:txBody>
      </p:sp>
      <p:cxnSp>
        <p:nvCxnSpPr>
          <p:cNvPr id="35" name="Прямая соединительная линия 34"/>
          <p:cNvCxnSpPr/>
          <p:nvPr>
            <p:custDataLst>
              <p:tags r:id="rId24"/>
            </p:custDataLst>
          </p:nvPr>
        </p:nvCxnSpPr>
        <p:spPr>
          <a:xfrm>
            <a:off x="4357686" y="3357562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>
            <p:custDataLst>
              <p:tags r:id="rId25"/>
            </p:custDataLst>
          </p:nvPr>
        </p:nvCxnSpPr>
        <p:spPr>
          <a:xfrm>
            <a:off x="6643702" y="3214686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0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643702" y="3357563"/>
            <a:ext cx="221457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Ограничения на поставку в Россию специальных электронных компонентов в ряде стран</a:t>
            </a:r>
            <a:endParaRPr lang="en-US" sz="1200" dirty="0" smtClean="0">
              <a:latin typeface="+mn-lt"/>
            </a:endParaRPr>
          </a:p>
        </p:txBody>
      </p:sp>
      <p:cxnSp>
        <p:nvCxnSpPr>
          <p:cNvPr id="61" name="Прямая соединительная линия 60"/>
          <p:cNvCxnSpPr/>
          <p:nvPr>
            <p:custDataLst>
              <p:tags r:id="rId27"/>
            </p:custDataLst>
          </p:nvPr>
        </p:nvCxnSpPr>
        <p:spPr>
          <a:xfrm>
            <a:off x="2071670" y="321468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/>
          <p:cNvSpPr/>
          <p:nvPr>
            <p:custDataLst>
              <p:tags r:id="rId28"/>
            </p:custDataLst>
          </p:nvPr>
        </p:nvSpPr>
        <p:spPr>
          <a:xfrm>
            <a:off x="6643702" y="2428869"/>
            <a:ext cx="22145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«Развитие оборонно-промышленного комплекса РФ на 2007 - 2010 гг. и на период до 2015 г.».</a:t>
            </a:r>
            <a:endParaRPr lang="ru-RU" sz="1200" dirty="0">
              <a:latin typeface="+mn-lt"/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29"/>
            </p:custDataLst>
          </p:nvPr>
        </p:nvSpPr>
        <p:spPr>
          <a:xfrm>
            <a:off x="4357686" y="2026499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«Развитие электронной компонентной базы и радиоэлектроники» на 2008 - 2015 гг.»</a:t>
            </a:r>
            <a:endParaRPr lang="ru-RU" sz="1200" dirty="0">
              <a:latin typeface="+mn-lt"/>
            </a:endParaRPr>
          </a:p>
        </p:txBody>
      </p:sp>
      <p:cxnSp>
        <p:nvCxnSpPr>
          <p:cNvPr id="71" name="Прямая соединительная линия 70"/>
          <p:cNvCxnSpPr/>
          <p:nvPr>
            <p:custDataLst>
              <p:tags r:id="rId30"/>
            </p:custDataLst>
          </p:nvPr>
        </p:nvCxnSpPr>
        <p:spPr>
          <a:xfrm rot="5400000">
            <a:off x="5408739" y="2878014"/>
            <a:ext cx="246992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17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0" y="6286520"/>
            <a:ext cx="850109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Положительное воздействие проявляется в проведении научно-исследовательских и опытно-конструкторских работ, реализации капитальных вложений </a:t>
            </a:r>
          </a:p>
          <a:p>
            <a:pPr algn="just"/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7154" name="think-cell Slide" r:id="rId45" imgW="360" imgH="360" progId="TCLayout.ActiveDocument.1">
              <p:embed/>
            </p:oleObj>
          </a:graphicData>
        </a:graphic>
      </p:graphicFrame>
      <p:sp>
        <p:nvSpPr>
          <p:cNvPr id="46" name="Прямоугольник 45"/>
          <p:cNvSpPr/>
          <p:nvPr>
            <p:custDataLst>
              <p:tags r:id="rId2"/>
            </p:custDataLst>
          </p:nvPr>
        </p:nvSpPr>
        <p:spPr>
          <a:xfrm>
            <a:off x="2071670" y="3643314"/>
            <a:ext cx="4572032" cy="2857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Прямоугольник 106"/>
          <p:cNvSpPr/>
          <p:nvPr>
            <p:custDataLst>
              <p:tags r:id="rId3"/>
            </p:custDataLst>
          </p:nvPr>
        </p:nvSpPr>
        <p:spPr>
          <a:xfrm>
            <a:off x="7929586" y="3643314"/>
            <a:ext cx="428628" cy="28575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2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05" name="Прямоугольник 104"/>
          <p:cNvSpPr/>
          <p:nvPr>
            <p:custDataLst>
              <p:tags r:id="rId4"/>
            </p:custDataLst>
          </p:nvPr>
        </p:nvSpPr>
        <p:spPr>
          <a:xfrm>
            <a:off x="6357950" y="4857760"/>
            <a:ext cx="308453" cy="12858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2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00" name="Прямоугольник 99"/>
          <p:cNvSpPr/>
          <p:nvPr>
            <p:custDataLst>
              <p:tags r:id="rId5"/>
            </p:custDataLst>
          </p:nvPr>
        </p:nvSpPr>
        <p:spPr>
          <a:xfrm>
            <a:off x="7215206" y="3643314"/>
            <a:ext cx="428628" cy="28575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1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97" name="Прямоугольник 96"/>
          <p:cNvSpPr/>
          <p:nvPr>
            <p:custDataLst>
              <p:tags r:id="rId6"/>
            </p:custDataLst>
          </p:nvPr>
        </p:nvSpPr>
        <p:spPr>
          <a:xfrm>
            <a:off x="7572396" y="3143248"/>
            <a:ext cx="428628" cy="28575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3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95" name="Прямоугольник 94"/>
          <p:cNvSpPr/>
          <p:nvPr>
            <p:custDataLst>
              <p:tags r:id="rId7"/>
            </p:custDataLst>
          </p:nvPr>
        </p:nvSpPr>
        <p:spPr>
          <a:xfrm>
            <a:off x="5286380" y="3143248"/>
            <a:ext cx="428628" cy="28575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2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93" name="Прямоугольник 92"/>
          <p:cNvSpPr/>
          <p:nvPr>
            <p:custDataLst>
              <p:tags r:id="rId8"/>
            </p:custDataLst>
          </p:nvPr>
        </p:nvSpPr>
        <p:spPr>
          <a:xfrm>
            <a:off x="3000364" y="3143248"/>
            <a:ext cx="428628" cy="28575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1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9"/>
            </p:custDataLst>
          </p:nvPr>
        </p:nvSpPr>
        <p:spPr>
          <a:xfrm>
            <a:off x="4357686" y="3429000"/>
            <a:ext cx="2286016" cy="2143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 66"/>
          <p:cNvSpPr/>
          <p:nvPr>
            <p:custDataLst>
              <p:tags r:id="rId10"/>
            </p:custDataLst>
          </p:nvPr>
        </p:nvSpPr>
        <p:spPr>
          <a:xfrm>
            <a:off x="6643702" y="3429000"/>
            <a:ext cx="2214578" cy="2143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11"/>
            </p:custDataLst>
          </p:nvPr>
        </p:nvSpPr>
        <p:spPr>
          <a:xfrm>
            <a:off x="4120671" y="4857760"/>
            <a:ext cx="308453" cy="12858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1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>
            <p:custDataLst>
              <p:tags r:id="rId12"/>
            </p:custDataLst>
          </p:nvPr>
        </p:nvSpPr>
        <p:spPr>
          <a:xfrm>
            <a:off x="2071670" y="3429000"/>
            <a:ext cx="2286016" cy="2143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13"/>
            </p:custDataLst>
          </p:nvPr>
        </p:nvSpPr>
        <p:spPr>
          <a:xfrm rot="10800000">
            <a:off x="2071670" y="2285992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1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1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доступа к спросу характеризуются как положительным, так и отрицательным воздействием на субъекты МСП г. Москвы </a:t>
            </a:r>
            <a:r>
              <a:rPr lang="ru-RU" dirty="0" smtClean="0"/>
              <a:t>в электронной промышленности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xmlns="" val="3803609240"/>
              </p:ext>
            </p:extLst>
          </p:nvPr>
        </p:nvGraphicFramePr>
        <p:xfrm>
          <a:off x="2071670" y="2285992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18"/>
            </p:custDataLst>
          </p:nvPr>
        </p:nvSpPr>
        <p:spPr>
          <a:xfrm>
            <a:off x="142844" y="3143248"/>
            <a:ext cx="1857388" cy="77525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спросу на производимые товары и услуг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42844" y="2500306"/>
            <a:ext cx="192879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20"/>
            </p:custDataLst>
          </p:nvPr>
        </p:nvSpPr>
        <p:spPr>
          <a:xfrm>
            <a:off x="2071670" y="3143248"/>
            <a:ext cx="6786610" cy="785818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21"/>
            </p:custDataLst>
          </p:nvPr>
        </p:nvCxnSpPr>
        <p:spPr>
          <a:xfrm rot="5400000">
            <a:off x="3964777" y="3536157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22"/>
            </p:custDataLst>
          </p:nvPr>
        </p:nvCxnSpPr>
        <p:spPr>
          <a:xfrm rot="16200000" flipH="1">
            <a:off x="6250795" y="3536156"/>
            <a:ext cx="785815" cy="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16" descr="http://mediasubs.ru/group/uploads/li/lichnostnyij-rost-i-finansyi/image2/ItMDliMWJ.jpg">
            <a:hlinkClick r:id="rId46"/>
          </p:cNvPr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214282" y="1071546"/>
            <a:ext cx="1643074" cy="1215876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>
            <p:custDataLst>
              <p:tags r:id="rId24"/>
            </p:custDataLst>
          </p:nvPr>
        </p:nvSpPr>
        <p:spPr>
          <a:xfrm>
            <a:off x="2071670" y="4000504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xmlns="" val="1898590413"/>
              </p:ext>
            </p:extLst>
          </p:nvPr>
        </p:nvGraphicFramePr>
        <p:xfrm>
          <a:off x="2071670" y="4000504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43" name="Rectangle 3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42844" y="4198301"/>
            <a:ext cx="20002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Отрицательное воздействие фактора</a:t>
            </a:r>
          </a:p>
        </p:txBody>
      </p:sp>
      <p:pic>
        <p:nvPicPr>
          <p:cNvPr id="125959" name="Picture 7" descr="http://ivbb.ru/domain_dependent/ivbb.ru/uploadify/3d5b9ce52a570d78e6b4bf7f07f18550.jpg">
            <a:hlinkClick r:id="rId48"/>
          </p:cNvPr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2360" y="5085184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Прямая соединительная линия 26"/>
          <p:cNvCxnSpPr/>
          <p:nvPr>
            <p:custDataLst>
              <p:tags r:id="rId28"/>
            </p:custDataLst>
          </p:nvPr>
        </p:nvCxnSpPr>
        <p:spPr>
          <a:xfrm>
            <a:off x="2071670" y="3429000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>
            <p:custDataLst>
              <p:tags r:id="rId29"/>
            </p:custDataLst>
          </p:nvPr>
        </p:nvCxnSpPr>
        <p:spPr>
          <a:xfrm>
            <a:off x="4357686" y="3429000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>
            <p:custDataLst>
              <p:tags r:id="rId30"/>
            </p:custDataLst>
          </p:nvPr>
        </p:nvCxnSpPr>
        <p:spPr>
          <a:xfrm>
            <a:off x="2071670" y="3643314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>
            <p:custDataLst>
              <p:tags r:id="rId31"/>
            </p:custDataLst>
          </p:nvPr>
        </p:nvCxnSpPr>
        <p:spPr>
          <a:xfrm>
            <a:off x="4357686" y="3643314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>
            <p:custDataLst>
              <p:tags r:id="rId32"/>
            </p:custDataLst>
          </p:nvPr>
        </p:nvCxnSpPr>
        <p:spPr>
          <a:xfrm>
            <a:off x="6643702" y="3429000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>
            <p:custDataLst>
              <p:tags r:id="rId33"/>
            </p:custDataLst>
          </p:nvPr>
        </p:nvCxnSpPr>
        <p:spPr>
          <a:xfrm>
            <a:off x="6643702" y="3643314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>
            <p:custDataLst>
              <p:tags r:id="rId34"/>
            </p:custDataLst>
          </p:nvPr>
        </p:nvSpPr>
        <p:spPr>
          <a:xfrm>
            <a:off x="4429124" y="4857760"/>
            <a:ext cx="2000264" cy="1285884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Высокая доля импорта радиоэлектронных компонентов, по ряду продуктов непреодолимые барьеры входа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71" name="Прямоугольник 70"/>
          <p:cNvSpPr/>
          <p:nvPr>
            <p:custDataLst>
              <p:tags r:id="rId35"/>
            </p:custDataLst>
          </p:nvPr>
        </p:nvSpPr>
        <p:spPr>
          <a:xfrm>
            <a:off x="6500826" y="857232"/>
            <a:ext cx="135789" cy="13573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36"/>
            </p:custDataLst>
          </p:nvPr>
        </p:nvSpPr>
        <p:spPr>
          <a:xfrm>
            <a:off x="4429124" y="857233"/>
            <a:ext cx="142876" cy="13573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37"/>
            </p:custDataLst>
          </p:nvPr>
        </p:nvSpPr>
        <p:spPr>
          <a:xfrm>
            <a:off x="2071671" y="857232"/>
            <a:ext cx="142876" cy="13573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74" name="Прямоугольник 73"/>
          <p:cNvSpPr/>
          <p:nvPr>
            <p:custDataLst>
              <p:tags r:id="rId38"/>
            </p:custDataLst>
          </p:nvPr>
        </p:nvSpPr>
        <p:spPr>
          <a:xfrm>
            <a:off x="2143108" y="857232"/>
            <a:ext cx="2143140" cy="13573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 г. Москве имеют свои представительства 60% крупнейших компаний мира, что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пособствуют экспорту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39"/>
            </p:custDataLst>
          </p:nvPr>
        </p:nvSpPr>
        <p:spPr>
          <a:xfrm>
            <a:off x="4500562" y="857232"/>
            <a:ext cx="2000264" cy="13573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8" indent="-1588" algn="ctr">
              <a:spcAft>
                <a:spcPts val="600"/>
              </a:spcAft>
              <a:tabLst>
                <a:tab pos="180975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В г. Москве регулярно проводится более 50% всех выставок, ярмарок и конференций России и прочих аналогичных тематических мероприятий</a:t>
            </a:r>
          </a:p>
        </p:txBody>
      </p:sp>
      <p:sp>
        <p:nvSpPr>
          <p:cNvPr id="80" name="Прямоугольник 79"/>
          <p:cNvSpPr/>
          <p:nvPr>
            <p:custDataLst>
              <p:tags r:id="rId40"/>
            </p:custDataLst>
          </p:nvPr>
        </p:nvSpPr>
        <p:spPr>
          <a:xfrm>
            <a:off x="6715140" y="857232"/>
            <a:ext cx="2071702" cy="13573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Высокий уровень государственного спроса (рост затрат на ВПК, рост </a:t>
            </a:r>
            <a:r>
              <a:rPr lang="ru-RU" sz="1200" dirty="0" err="1" smtClean="0">
                <a:solidFill>
                  <a:schemeClr val="tx1"/>
                </a:solidFill>
              </a:rPr>
              <a:t>госзакупок</a:t>
            </a:r>
            <a:r>
              <a:rPr lang="ru-RU" sz="1200" dirty="0" smtClean="0">
                <a:solidFill>
                  <a:schemeClr val="tx1"/>
                </a:solidFill>
              </a:rPr>
              <a:t> на 23% в 2012 г.) способствует развитию отрасли*</a:t>
            </a:r>
          </a:p>
        </p:txBody>
      </p:sp>
      <p:sp>
        <p:nvSpPr>
          <p:cNvPr id="104" name="TextBox 17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В т.ч. высокотехнологичный государственный спрос (радиочастотная идентификация, электронные паспорта и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тд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)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дакция «Бюллетеня Оперативной Информации «Московские Торги», Концепция технологического развития радиоэлектронной промышленности</a:t>
            </a:r>
          </a:p>
        </p:txBody>
      </p:sp>
      <p:sp>
        <p:nvSpPr>
          <p:cNvPr id="106" name="Прямоугольник 105"/>
          <p:cNvSpPr/>
          <p:nvPr>
            <p:custDataLst>
              <p:tags r:id="rId42"/>
            </p:custDataLst>
          </p:nvPr>
        </p:nvSpPr>
        <p:spPr>
          <a:xfrm>
            <a:off x="6643702" y="4857760"/>
            <a:ext cx="2214578" cy="1285884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Доступ к государственному спросу осложняется несовершенством инвестиционной системы организации выполнения </a:t>
            </a:r>
            <a:r>
              <a:rPr lang="ru-RU" sz="1200" dirty="0" err="1" smtClean="0">
                <a:solidFill>
                  <a:schemeClr val="tx1"/>
                </a:solidFill>
              </a:rPr>
              <a:t>гособоронзаказа</a:t>
            </a:r>
            <a:r>
              <a:rPr lang="ru-RU" sz="1200" dirty="0" smtClean="0">
                <a:solidFill>
                  <a:schemeClr val="tx1"/>
                </a:solidFill>
              </a:rPr>
              <a:t> и ценообразования</a:t>
            </a:r>
            <a:endParaRPr lang="ru-RU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9442" name="think-cell Slide" r:id="rId28" imgW="360" imgH="360" progId="TCLayout.ActiveDocument.1">
              <p:embed/>
            </p:oleObj>
          </a:graphicData>
        </a:graphic>
      </p:graphicFrame>
      <p:sp>
        <p:nvSpPr>
          <p:cNvPr id="57" name="Прямоугольник 56"/>
          <p:cNvSpPr/>
          <p:nvPr>
            <p:custDataLst>
              <p:tags r:id="rId2"/>
            </p:custDataLst>
          </p:nvPr>
        </p:nvSpPr>
        <p:spPr>
          <a:xfrm>
            <a:off x="2071670" y="4000504"/>
            <a:ext cx="6786610" cy="1428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TextBox 3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57686" y="1714488"/>
            <a:ext cx="2286016" cy="1277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ешевая электроэнергия (2,2 руб./кВт ч.  - в 2,5 раза ниже, чем в Европе) 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рганизация предприятий в промзоны, что обеспечивает синергетический эффект </a:t>
            </a:r>
            <a:endParaRPr lang="en-US" sz="1200" dirty="0" smtClean="0">
              <a:latin typeface="+mn-lt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4"/>
            </p:custDataLst>
          </p:nvPr>
        </p:nvSpPr>
        <p:spPr>
          <a:xfrm rot="10800000">
            <a:off x="2071671" y="857233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5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Факторы инфраструктуры оказывают существенное положительное воздействие на субъекты МСП г. Москвы </a:t>
            </a:r>
            <a:r>
              <a:rPr lang="ru-RU" dirty="0" smtClean="0"/>
              <a:t>в электронной промышленности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2071670" y="857232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9"/>
            </p:custDataLst>
          </p:nvPr>
        </p:nvSpPr>
        <p:spPr>
          <a:xfrm>
            <a:off x="285720" y="1714488"/>
            <a:ext cx="1643074" cy="3643338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Факторы инфраструктуры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643702" y="1714488"/>
            <a:ext cx="2214578" cy="227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упная инфраструктура для развития инновационных производственных компаний</a:t>
            </a:r>
            <a:r>
              <a:rPr lang="en-US" sz="1200" dirty="0" smtClean="0">
                <a:latin typeface="+mn-lt"/>
              </a:rPr>
              <a:t>:</a:t>
            </a:r>
          </a:p>
          <a:p>
            <a:pPr marL="182563" indent="-182563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ведущий кластер в РФ в г. Зеленограде, формирующиеся кластеры в г. Троицке и на базе Курчатовского института</a:t>
            </a:r>
            <a:endParaRPr lang="en-US" sz="1200" dirty="0" smtClean="0">
              <a:latin typeface="+mn-lt"/>
            </a:endParaRPr>
          </a:p>
          <a:p>
            <a:pPr marL="182563" indent="-182563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высокое количество технопарков, бизнес инкубаторов и ИТЦ</a:t>
            </a: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0" y="857232"/>
            <a:ext cx="207167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4" name="Прямая соединительная линия 33"/>
          <p:cNvCxnSpPr/>
          <p:nvPr>
            <p:custDataLst>
              <p:tags r:id="rId12"/>
            </p:custDataLst>
          </p:nvPr>
        </p:nvCxnSpPr>
        <p:spPr>
          <a:xfrm rot="5400000">
            <a:off x="5536414" y="2893214"/>
            <a:ext cx="2214578" cy="2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1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Европейский энергетический портал, оценка АНО «НИСИПП» на основе баз организаций инновационной инфраструктуры МИИРИС,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Ventur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Databas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Каталога информационных ресурсов венчурного рынка, подготовленного Агентством промышленной информации</a:t>
            </a:r>
          </a:p>
          <a:p>
            <a:pPr algn="just"/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0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071670" y="1785926"/>
            <a:ext cx="228601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аточный уровень обеспеченности инженерной инфраструктурой</a:t>
            </a:r>
            <a:endParaRPr lang="en-US" sz="1200" dirty="0" smtClean="0">
              <a:latin typeface="+mn-lt"/>
            </a:endParaRPr>
          </a:p>
        </p:txBody>
      </p:sp>
      <p:sp>
        <p:nvSpPr>
          <p:cNvPr id="46" name="Прямоугольник 45"/>
          <p:cNvSpPr/>
          <p:nvPr>
            <p:custDataLst>
              <p:tags r:id="rId15"/>
            </p:custDataLst>
          </p:nvPr>
        </p:nvSpPr>
        <p:spPr>
          <a:xfrm>
            <a:off x="2071670" y="5429264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custDataLst>
              <p:tags r:id="rId16"/>
            </p:custDataLst>
          </p:nvPr>
        </p:nvGraphicFramePr>
        <p:xfrm>
          <a:off x="2071670" y="5429264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52" name="Rectangle 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42844" y="5429264"/>
            <a:ext cx="200026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32" name="Rectangle 19"/>
          <p:cNvSpPr/>
          <p:nvPr>
            <p:custDataLst>
              <p:tags r:id="rId18"/>
            </p:custDataLst>
          </p:nvPr>
        </p:nvSpPr>
        <p:spPr>
          <a:xfrm>
            <a:off x="2071670" y="1714488"/>
            <a:ext cx="6786610" cy="2286016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6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071670" y="4286256"/>
            <a:ext cx="228601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Узкий спектр отечественных материалов для создания современной РЭА осложняет конкуренцию с импортными поставщиками материалов</a:t>
            </a:r>
            <a:endParaRPr lang="en-US" sz="1200" dirty="0" smtClean="0">
              <a:latin typeface="+mn-lt"/>
            </a:endParaRPr>
          </a:p>
        </p:txBody>
      </p:sp>
      <p:sp>
        <p:nvSpPr>
          <p:cNvPr id="77" name="TextBox 3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357686" y="4270725"/>
            <a:ext cx="228601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тсутствие на рынке отечественного </a:t>
            </a:r>
            <a:r>
              <a:rPr lang="ru-RU" sz="1200" dirty="0" err="1" smtClean="0">
                <a:latin typeface="+mn-lt"/>
              </a:rPr>
              <a:t>технологичес-кого</a:t>
            </a:r>
            <a:r>
              <a:rPr lang="ru-RU" sz="1200" dirty="0" smtClean="0">
                <a:latin typeface="+mn-lt"/>
              </a:rPr>
              <a:t> оборудования приводит к зависимости от импортных поставок</a:t>
            </a:r>
            <a:endParaRPr lang="en-US" sz="1200" dirty="0" smtClean="0">
              <a:latin typeface="+mn-lt"/>
            </a:endParaRPr>
          </a:p>
        </p:txBody>
      </p:sp>
      <p:sp>
        <p:nvSpPr>
          <p:cNvPr id="78" name="TextBox 3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643702" y="4286256"/>
            <a:ext cx="221457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тсутствие резервных электрических мощностей осложняет подключение дополнительных энергетических мощностей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Rectangle 19"/>
          <p:cNvSpPr/>
          <p:nvPr>
            <p:custDataLst>
              <p:tags r:id="rId22"/>
            </p:custDataLst>
          </p:nvPr>
        </p:nvSpPr>
        <p:spPr>
          <a:xfrm>
            <a:off x="2071670" y="4143380"/>
            <a:ext cx="6786610" cy="1214446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>
            <p:custDataLst>
              <p:tags r:id="rId23"/>
            </p:custDataLst>
          </p:nvPr>
        </p:nvCxnSpPr>
        <p:spPr>
          <a:xfrm rot="5400000">
            <a:off x="3250398" y="2893214"/>
            <a:ext cx="2214578" cy="2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>
            <p:custDataLst>
              <p:tags r:id="rId24"/>
            </p:custDataLst>
          </p:nvPr>
        </p:nvCxnSpPr>
        <p:spPr>
          <a:xfrm rot="5400000">
            <a:off x="3750464" y="4750602"/>
            <a:ext cx="1214446" cy="2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>
            <p:custDataLst>
              <p:tags r:id="rId25"/>
            </p:custDataLst>
          </p:nvPr>
        </p:nvCxnSpPr>
        <p:spPr>
          <a:xfrm rot="5400000">
            <a:off x="6036480" y="4750602"/>
            <a:ext cx="1214446" cy="2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4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hLTFCkZEy1yUmGSzJ0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_tmuhjEE.gKP5gC0UJD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.pA0QnPESxCrmpNv_pj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innXQzQ0a87AY.tQrwK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cx1JsHke8W8i6KMYsl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bTt7WbwkGR9cTWqYV1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_JipTVkTw0i6YXJDs984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asIrvYNEGOjLEt8pGHj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s8XzSmD0.WXPs1gFPrB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7d3yX2GEyckazuIJSpa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qQprcd80Sc5LG_O3wfC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du4cdujU2Fna8r9LWfn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7xKkicP0.KCrear0cD9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kfOQTT7UybUVoj7aY1g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RQ2K0oaUGnmW9sbRFi8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Ie_jISq0GoooWti9s6t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9Edy6oEqHCaGAkifA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lXcYrbJkqRwxrfbtonw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kgEBIY6kWcYcgcHJ8NS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sMGU8hX0aqUD69A9VjV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7p.R_2DE.wkKQFrEefZ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fdqp9cN0uA_sZPjf.Hx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7jJtnTAkCyFjrY7qC0t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kOBNgankKLZgkkzNcMP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LNCjRraEGKFh1_1Lv.r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GPpekRlUyXlF4ipM9RM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_uLHZ.OUW7ijmcqD_7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Bpny93l2REmCR_We_4_Gf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GWG.V.kKg_x54mjiMr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OC8sbL2U2REqk9tDm8X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XuwlSuUuvGoOUdW40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xTf2ptE61UHn_8ugBh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XKNTzqu0WBxDxUYhq1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GSygAcGECVseN3pzEP7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vs3_aOn12kiYDzy2yuFC_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Ke8o3PBkiD_fd2ZM7B.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gGjV1teEGomL9MsX8Px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Z8C9kw9EOUIveXgb.8B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2r9j0SWUupb5rH9T9GE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cDcdBhAUWMM.3LkHIxq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xv7etIFESAbH8bXDRQL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4hTFu_cUuipQKE_3BOB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VYT3UtGkmXd2XbuyGS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66xq4erU.OZrc8tTKUX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05JNCjM0S6rzYXRB4mX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v3ZFgylkWIeEyT47ZoE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vO3Gro4kyUSnd1rnK3K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nBf6b0yEeGFyDK.JoXC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PCqZ.LIqWEiKk1zEM99s7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Y.FElcUO99HlaBLK9S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74ejgD2kisvBenCPUpJ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mzl2Rh60aCCyh60ImSs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MtXrYcrkqI6.rk1blmq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gVeu1fcUWnv0_cnl0dm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e4Z9WgV0CxkrinUA_WT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i.cEJou0i8CMsy8LhaG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LLTRzY4k6x6WK76GwgX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2yULbKoUi39th1hoPYe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6bascc2kiZPFHg2PJJ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M5HvIL.Zj02RgK6Jlwron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k.I6xiSEWXEk4WP9Uw7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fr31bz0qRfJIQ8CuIM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q4TyvinUWJ92pvI2vZ3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fSQJWlU2xgvohOllxx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x5na3Q0EyWoZ0JanMq4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gbXRaXDEiRB8jU8df5X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yP4shaUK5C1wT3r60_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fj1dnfqki7GBmUQXL42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JojUSCv02GmDvqqrDu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ycilo19EaDsCilDpY.d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QXxxieJ0iTWRpPCnrTK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VyVxEwkmTTBW0kVfzz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HzX_kzAEq4FEh2f6I4Q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PCqZ.LIqWEiKk1zEM99s7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SQb4UyYkO8yfJUONoL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AHaOQjyUqJnkn4u2h8S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2iFB5b90unEW61UAjsq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MtXrYcrkqI6.rk1blmq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dMUdbjaUuC9mYs6vgS6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mQDZQOkiGYAmVP8jz_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4aDgEm9UOnUsrR9.UHq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6jko9zZUmabL6KWQ.dd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44F9xLF0aBXqJzM_eyz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U74mA7.UKeoi14iYZHZ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Dq3K_zSUOtMN3M75YW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PzSh_XK06lwSZNJJvw4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FkRO90ekKWyV0kPyKSo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OD3SwDWEKpAEZJFkV_U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dM9UiSKE2kn_QgINaXg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2NA34g10273GMuktZ6a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E9UosYlk6F548pVZjcZ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60idP9qkqZhUf016Ma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7jgzdBm0a8j_ewNyzyw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pbvUkf2EC5d3yMZEnj4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eDL2PDWEC1.JWSbteQn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mvirdH0O1126_ny3hG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DWFuFQu0WD.hI0mKrHD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7owdPafU6pbx.9Dm6jI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eGJhY9qkWtUOsDDveG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IhbEps0aB9AOlyo5qf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H5MaY4nEC7p0091eyug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2GL7ZUW.DiWZiL84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w9q1tKXEOuJZezYX4FO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PsHq.B0OQiTLdPqCPH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ZIcMDnZkuvqbz1YSfGN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Vo__846U.S3SVi3cKKn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uWLEXP.Eisn81Vl8Gls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3RCq_gEmR153ywNDi.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MdmEedrEi0uwxQROUg8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4ppEOp0q0Avx6cyuQf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V7980zYkO1uy2eAusxy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4UtS8Sik2HNHdS0se4_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KMz5jHGE6uPc2.RJVT7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9VqYqKzEull7tnwxqe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Q7omz1kOPh51Wdg8O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vhYjHaUeYts32JkyL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aKeNxF0uElOdl17Q2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dSzDQ.50qpR3Rm0SZc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hRnAq8yUiWdTSRRxuy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LHSK2IG02N3HqJ3BXx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aQowJ.wUmWLp7FosTM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OMSNZm4UOVhzllAL4k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_n6VRZXk2sEhOZgddu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7WwWAtJkSSWAm6.0ZM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m8dxQMukywRMMUJykWk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Z5Qn8QwUiVGTzUlJstZ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3Eu.Ws.k.nakV4pzIX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cQaEejPU6mqCuK1TOK5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U0PR7eOUyYhk5.Y42L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3yCys5iUGt9SFOBHba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9M7Qt4gUWGF124ZhPN0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CChXoXpbdEKvO4cixb2d5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Jqs72z1Ea4PvwLDd4Ui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pXORaODECrDFHwyv5F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kX4iJbxEmLcfAgGEbk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LMX3vHVUe61Agpqvhy2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Gyekc_5U.yPSWlpbuq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_JipTVkTw0i6YXJDs984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asIrvYNEGOjLEt8pGHj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W99Ths606FkJiTzYS.l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z0nptp3Ey9rd2kezIM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fJQ6s0f0qARsn76Pqw.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DgUf2ThUaUcISvxKGE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o6NfVQTU2jlAbM4LkU0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pxtWnrUSe1YrMPU798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LJ3QYgnkWaePAf5wD0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IEadolEEGZS8mqPU7m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oelAmF50O1FVxIfFM0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WcZWrHkWkOPHpLLjXr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c6myB7ok2dmRhYY23q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8H9FKinEuxa6cQr7r31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EfVQ8v0UCKh1aMeBLkj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ca9LIGlE215PlXkqmoF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XKNTzqu0WBxDxUYhq1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BTl8ZoEetvoo8jOcCp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y6Y7WxokuhMIvEFAtk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HTeQQPwUK.PJdNfIqX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Pj2lcS3ke9RnckUjxV4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wrq54YB0Gp8G2YK_brV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TYHV_2V0qxq7kPtZJ.v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ut6rrhvkGekTurCokED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ilTsrwL0WzHQkNIvtx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roiKT6L02xLJsvUURKL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4nA2CwzEyBruWavoRPz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TE5tGrMEOuYRTEnvld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mvKlv534iESm_8g4aY16U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heme/theme1.xml><?xml version="1.0" encoding="utf-8"?>
<a:theme xmlns:a="http://schemas.openxmlformats.org/drawingml/2006/main" name="nisse_orv_arenda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sse_orv_arenda_</Template>
  <TotalTime>5400</TotalTime>
  <Words>2075</Words>
  <Application>Microsoft Office PowerPoint</Application>
  <PresentationFormat>Экран (4:3)</PresentationFormat>
  <Paragraphs>272</Paragraphs>
  <Slides>15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nisse_orv_arenda_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существующего варианта имущественной поддержки субъектов малого и среднего предпринимательства города Москвы, действующего в рамках постановления Правительства Москвы от 18 сентября 2007 г. N 810-ПП «Об утверждении перечней видов использования нежилых помещений, находящихся в собственности города Москвы, передаваемых арендаторам на льготных условиях, на 2008—2010 годы»  и постановления Правительства Москвы от 30 декабря 2008 г. N 1218-ПП О дополнительных мерах государственной поддержки организаций и предприятий, арендующих объекты нежилого фонда, находящиеся в имущественной казне города Москвы, на период стабилизации финансовой системы», а также последствий его отмены</dc:title>
  <dc:creator>Мария Николаевна Каримова</dc:creator>
  <cp:lastModifiedBy>Алексей</cp:lastModifiedBy>
  <cp:revision>269</cp:revision>
  <dcterms:created xsi:type="dcterms:W3CDTF">2012-11-23T10:09:39Z</dcterms:created>
  <dcterms:modified xsi:type="dcterms:W3CDTF">2013-10-24T12:48:02Z</dcterms:modified>
</cp:coreProperties>
</file>